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7" r:id="rId1"/>
  </p:sldMasterIdLst>
  <p:notesMasterIdLst>
    <p:notesMasterId r:id="rId13"/>
  </p:notesMasterIdLst>
  <p:handoutMasterIdLst>
    <p:handoutMasterId r:id="rId14"/>
  </p:handoutMasterIdLst>
  <p:sldIdLst>
    <p:sldId id="434" r:id="rId2"/>
    <p:sldId id="530" r:id="rId3"/>
    <p:sldId id="477" r:id="rId4"/>
    <p:sldId id="537" r:id="rId5"/>
    <p:sldId id="533" r:id="rId6"/>
    <p:sldId id="525" r:id="rId7"/>
    <p:sldId id="547" r:id="rId8"/>
    <p:sldId id="544" r:id="rId9"/>
    <p:sldId id="535" r:id="rId10"/>
    <p:sldId id="542" r:id="rId11"/>
    <p:sldId id="528" r:id="rId12"/>
  </p:sldIdLst>
  <p:sldSz cx="9144000" cy="6858000" type="screen4x3"/>
  <p:notesSz cx="7010400" cy="9296400"/>
  <p:custDataLst>
    <p:tags r:id="rId15"/>
  </p:custDataLst>
  <p:defaultTextStyle>
    <a:defPPr>
      <a:defRPr lang="sk-SK"/>
    </a:defPPr>
    <a:lvl1pPr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dzak Peter" initials="MP" lastIdx="1" clrIdx="0">
    <p:extLst>
      <p:ext uri="{19B8F6BF-5375-455C-9EA6-DF929625EA0E}">
        <p15:presenceInfo xmlns:p15="http://schemas.microsoft.com/office/powerpoint/2012/main" userId="S-1-5-21-3687306193-3854762678-519657110-24882" providerId="AD"/>
      </p:ext>
    </p:extLst>
  </p:cmAuthor>
  <p:cmAuthor id="2" name="Kurian Matej" initials="KM" lastIdx="1" clrIdx="1">
    <p:extLst>
      <p:ext uri="{19B8F6BF-5375-455C-9EA6-DF929625EA0E}">
        <p15:presenceInfo xmlns:p15="http://schemas.microsoft.com/office/powerpoint/2012/main" userId="S-1-5-21-3687306193-3854762678-519657110-233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2C9ADC"/>
    <a:srgbClr val="FFCC99"/>
    <a:srgbClr val="FFFF99"/>
    <a:srgbClr val="FFCC66"/>
    <a:srgbClr val="FF7C80"/>
    <a:srgbClr val="CCECFF"/>
    <a:srgbClr val="99CCFF"/>
    <a:srgbClr val="CCFFFF"/>
    <a:srgbClr val="2440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redný štý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4742" autoAdjust="0"/>
  </p:normalViewPr>
  <p:slideViewPr>
    <p:cSldViewPr>
      <p:cViewPr varScale="1">
        <p:scale>
          <a:sx n="61" d="100"/>
          <a:sy n="61" d="100"/>
        </p:scale>
        <p:origin x="1310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3714" y="102"/>
      </p:cViewPr>
      <p:guideLst>
        <p:guide orient="horz" pos="2928"/>
        <p:guide pos="220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116F25-B8C8-47A8-813B-6C94FAC1E4FD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k-SK"/>
        </a:p>
      </dgm:t>
    </dgm:pt>
    <dgm:pt modelId="{45BFAF6D-BBC9-4373-A373-5D9982C04D87}">
      <dgm:prSet phldrT="[Text]" custT="1"/>
      <dgm:spPr>
        <a:solidFill>
          <a:srgbClr val="00B0F0"/>
        </a:solidFill>
      </dgm:spPr>
      <dgm:t>
        <a:bodyPr/>
        <a:lstStyle/>
        <a:p>
          <a:pPr>
            <a:lnSpc>
              <a:spcPct val="100000"/>
            </a:lnSpc>
          </a:pPr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S</a:t>
          </a:r>
          <a:r>
            <a:rPr lang="en-US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pending review</a:t>
          </a:r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measures</a:t>
          </a:r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are </a:t>
          </a:r>
          <a:r>
            <a:rPr lang="en-US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part of the</a:t>
          </a:r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             </a:t>
          </a:r>
          <a:r>
            <a:rPr lang="sk-SK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1) </a:t>
          </a:r>
          <a:r>
            <a:rPr lang="en-US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budget negotiation</a:t>
          </a:r>
          <a:r>
            <a:rPr lang="sk-SK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technical and political</a:t>
          </a:r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  <a:endParaRPr lang="sk-SK" sz="2000" b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gm:t>
    </dgm:pt>
    <dgm:pt modelId="{CC58BB9C-932B-4932-9B51-2C6F8F46AEDA}" type="parTrans" cxnId="{C5A286A9-9B53-45AC-BA49-275C97E6717A}">
      <dgm:prSet/>
      <dgm:spPr/>
      <dgm:t>
        <a:bodyPr/>
        <a:lstStyle/>
        <a:p>
          <a:endParaRPr lang="sk-SK"/>
        </a:p>
      </dgm:t>
    </dgm:pt>
    <dgm:pt modelId="{3273F9A1-2A17-4C55-B2F8-5E9268BFE6A2}" type="sibTrans" cxnId="{C5A286A9-9B53-45AC-BA49-275C97E6717A}">
      <dgm:prSet/>
      <dgm:spPr/>
      <dgm:t>
        <a:bodyPr/>
        <a:lstStyle/>
        <a:p>
          <a:endParaRPr lang="sk-SK"/>
        </a:p>
      </dgm:t>
    </dgm:pt>
    <dgm:pt modelId="{CBE7468E-9983-4E8C-92E8-03DD0B9E5D60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Spending review reports are part of </a:t>
          </a:r>
          <a:r>
            <a:rPr lang="en-US" sz="2000" b="1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2) budgetary documentation</a:t>
          </a:r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, approved by the government</a:t>
          </a:r>
          <a:endParaRPr lang="en-US" sz="2000" b="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gm:t>
    </dgm:pt>
    <dgm:pt modelId="{204BD045-54EC-44C1-B524-B989DAB66E70}" type="parTrans" cxnId="{845AB1B3-2B58-4F46-9094-784BF88ED411}">
      <dgm:prSet/>
      <dgm:spPr/>
      <dgm:t>
        <a:bodyPr/>
        <a:lstStyle/>
        <a:p>
          <a:endParaRPr lang="sk-SK"/>
        </a:p>
      </dgm:t>
    </dgm:pt>
    <dgm:pt modelId="{FBF5E794-952C-4059-B947-905652047D94}" type="sibTrans" cxnId="{845AB1B3-2B58-4F46-9094-784BF88ED411}">
      <dgm:prSet/>
      <dgm:spPr/>
      <dgm:t>
        <a:bodyPr/>
        <a:lstStyle/>
        <a:p>
          <a:endParaRPr lang="sk-SK"/>
        </a:p>
      </dgm:t>
    </dgm:pt>
    <dgm:pt modelId="{C834394C-AC8C-4E6D-8F3C-0F0056BF9DBE}">
      <dgm:prSet phldrT="[Text]" custT="1"/>
      <dgm:spPr>
        <a:solidFill>
          <a:srgbClr val="00B0F0"/>
        </a:solidFill>
      </dgm:spPr>
      <dgm:t>
        <a:bodyPr/>
        <a:lstStyle/>
        <a:p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Some</a:t>
          </a:r>
          <a:r>
            <a:rPr lang="sk-SK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 </a:t>
          </a:r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measures</a:t>
          </a:r>
          <a:r>
            <a:rPr lang="en-US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are incorporated into</a:t>
          </a:r>
          <a:r>
            <a:rPr lang="en-US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3) </a:t>
          </a:r>
          <a:r>
            <a:rPr lang="en-US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the state budget</a:t>
          </a:r>
          <a:r>
            <a:rPr lang="en-US" sz="20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16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en-US" sz="16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health and environment are the poster-child</a:t>
          </a:r>
          <a:r>
            <a:rPr lang="sk-SK" sz="1600" b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  <a:endParaRPr lang="sk-SK" sz="1600" b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gm:t>
    </dgm:pt>
    <dgm:pt modelId="{A2AA5B6D-A7E7-4942-944B-658426A8963D}" type="parTrans" cxnId="{31EC5C79-9A4F-4726-98ED-98C58ABE6344}">
      <dgm:prSet/>
      <dgm:spPr/>
      <dgm:t>
        <a:bodyPr/>
        <a:lstStyle/>
        <a:p>
          <a:endParaRPr lang="sk-SK"/>
        </a:p>
      </dgm:t>
    </dgm:pt>
    <dgm:pt modelId="{2982EC1F-4447-4C2E-9D0B-493E1A9C3DFB}" type="sibTrans" cxnId="{31EC5C79-9A4F-4726-98ED-98C58ABE6344}">
      <dgm:prSet/>
      <dgm:spPr/>
      <dgm:t>
        <a:bodyPr/>
        <a:lstStyle/>
        <a:p>
          <a:endParaRPr lang="sk-SK"/>
        </a:p>
      </dgm:t>
    </dgm:pt>
    <dgm:pt modelId="{A63B80F3-71C0-4323-AA1C-6D969F9CFD67}">
      <dgm:prSet phldrT="[Text]" custT="1"/>
      <dgm:spPr>
        <a:solidFill>
          <a:srgbClr val="00B0F0"/>
        </a:solidFill>
      </dgm:spPr>
      <dgm:t>
        <a:bodyPr/>
        <a:lstStyle/>
        <a:p>
          <a:r>
            <a:rPr lang="sk-SK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5) </a:t>
          </a:r>
          <a:r>
            <a:rPr lang="en-US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Implementation</a:t>
          </a:r>
          <a:r>
            <a:rPr lang="sk-SK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en-US" sz="2000" b="1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Report </a:t>
          </a:r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is part of budgetary documentation</a:t>
          </a:r>
          <a:r>
            <a:rPr lang="en-US" sz="2000" b="1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en-US" sz="16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overseen by Implementation Unit)</a:t>
          </a:r>
          <a:endParaRPr lang="en-US" sz="160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gm:t>
    </dgm:pt>
    <dgm:pt modelId="{643659C9-1087-4DA3-BB23-5EB3C13E244E}" type="parTrans" cxnId="{F3E7E184-A4FD-4343-80F8-676A4859FCBD}">
      <dgm:prSet/>
      <dgm:spPr/>
      <dgm:t>
        <a:bodyPr/>
        <a:lstStyle/>
        <a:p>
          <a:endParaRPr lang="sk-SK"/>
        </a:p>
      </dgm:t>
    </dgm:pt>
    <dgm:pt modelId="{E0C2AF8B-1F7F-472E-825E-8AEA57C962B0}" type="sibTrans" cxnId="{F3E7E184-A4FD-4343-80F8-676A4859FCBD}">
      <dgm:prSet/>
      <dgm:spPr/>
      <dgm:t>
        <a:bodyPr/>
        <a:lstStyle/>
        <a:p>
          <a:endParaRPr lang="sk-SK"/>
        </a:p>
      </dgm:t>
    </dgm:pt>
    <dgm:pt modelId="{4ED98B26-2CA5-4F92-887A-A6884D0699F5}">
      <dgm:prSet phldrT="[Text]" custT="1"/>
      <dgm:spPr>
        <a:solidFill>
          <a:srgbClr val="00B0F0"/>
        </a:solidFill>
      </dgm:spPr>
      <dgm:t>
        <a:bodyPr/>
        <a:lstStyle/>
        <a:p>
          <a:r>
            <a:rPr lang="sk-SK" sz="2000" b="1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4) </a:t>
          </a:r>
          <a:r>
            <a:rPr lang="en-US" sz="2000" b="1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Outcome indicators </a:t>
          </a:r>
          <a:r>
            <a:rPr lang="en-US" sz="2000" b="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for each sector </a:t>
          </a:r>
          <a:r>
            <a:rPr lang="en-US" sz="16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e.g. amendable mortality in health, PISA in education etc.)</a:t>
          </a:r>
          <a:endParaRPr lang="en-US" sz="160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gm:t>
    </dgm:pt>
    <dgm:pt modelId="{BB2E5891-C8C9-4B62-ADEF-74719636272C}" type="parTrans" cxnId="{149700BA-C573-4605-AE01-781891FF7EFB}">
      <dgm:prSet/>
      <dgm:spPr/>
      <dgm:t>
        <a:bodyPr/>
        <a:lstStyle/>
        <a:p>
          <a:endParaRPr lang="sk-SK"/>
        </a:p>
      </dgm:t>
    </dgm:pt>
    <dgm:pt modelId="{C39E79C3-AE48-4334-80C9-A54717BBA7C9}" type="sibTrans" cxnId="{149700BA-C573-4605-AE01-781891FF7EFB}">
      <dgm:prSet/>
      <dgm:spPr/>
      <dgm:t>
        <a:bodyPr/>
        <a:lstStyle/>
        <a:p>
          <a:endParaRPr lang="sk-SK"/>
        </a:p>
      </dgm:t>
    </dgm:pt>
    <dgm:pt modelId="{95E1BE32-135E-4F6A-A5A5-08C8C40EB15A}" type="pres">
      <dgm:prSet presAssocID="{63116F25-B8C8-47A8-813B-6C94FAC1E4FD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B6B0B9B-0EFF-48AF-B620-B9E9A4DFD391}" type="pres">
      <dgm:prSet presAssocID="{63116F25-B8C8-47A8-813B-6C94FAC1E4FD}" presName="dummyMaxCanvas" presStyleCnt="0">
        <dgm:presLayoutVars/>
      </dgm:prSet>
      <dgm:spPr/>
    </dgm:pt>
    <dgm:pt modelId="{E082697F-1E14-4E75-86B4-E5E9C26D88CE}" type="pres">
      <dgm:prSet presAssocID="{63116F25-B8C8-47A8-813B-6C94FAC1E4FD}" presName="FiveNodes_1" presStyleLbl="node1" presStyleIdx="0" presStyleCnt="5" custScaleX="103880" custLinFactNeighborX="-77" custLinFactNeighborY="-41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652BC508-A1A6-423E-B7CF-C060736643A1}" type="pres">
      <dgm:prSet presAssocID="{63116F25-B8C8-47A8-813B-6C94FAC1E4FD}" presName="FiveNodes_2" presStyleLbl="node1" presStyleIdx="1" presStyleCnt="5" custScaleX="103880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C9AE6F0E-BDD2-4A43-8F78-1E9B12506371}" type="pres">
      <dgm:prSet presAssocID="{63116F25-B8C8-47A8-813B-6C94FAC1E4FD}" presName="FiveNodes_3" presStyleLbl="node1" presStyleIdx="2" presStyleCnt="5" custScaleX="108412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5295DBFB-B07B-4E17-9B97-2FD8134F0D1E}" type="pres">
      <dgm:prSet presAssocID="{63116F25-B8C8-47A8-813B-6C94FAC1E4FD}" presName="FiveNodes_4" presStyleLbl="node1" presStyleIdx="3" presStyleCnt="5" custScaleX="108412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D2FD44D7-1F5E-402B-9CA9-8490391E01E3}" type="pres">
      <dgm:prSet presAssocID="{63116F25-B8C8-47A8-813B-6C94FAC1E4FD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EF4F216D-5471-4475-9865-2FDD80065506}" type="pres">
      <dgm:prSet presAssocID="{63116F25-B8C8-47A8-813B-6C94FAC1E4FD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95ED7D-B56D-44AD-8222-9B764D065FFA}" type="pres">
      <dgm:prSet presAssocID="{63116F25-B8C8-47A8-813B-6C94FAC1E4FD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4D7B89-622B-4CFF-B59D-6A7005AD4536}" type="pres">
      <dgm:prSet presAssocID="{63116F25-B8C8-47A8-813B-6C94FAC1E4FD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356974-2C22-42DF-B1A0-E4DC272A4298}" type="pres">
      <dgm:prSet presAssocID="{63116F25-B8C8-47A8-813B-6C94FAC1E4FD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6BC233-7EB0-40F5-BCB5-584B7C71B026}" type="pres">
      <dgm:prSet presAssocID="{63116F25-B8C8-47A8-813B-6C94FAC1E4FD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86361AEA-4DB2-47DB-92EC-6140B74CC600}" type="pres">
      <dgm:prSet presAssocID="{63116F25-B8C8-47A8-813B-6C94FAC1E4FD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D5B1B6DB-64E2-49BE-A035-F00DBAC3D21E}" type="pres">
      <dgm:prSet presAssocID="{63116F25-B8C8-47A8-813B-6C94FAC1E4FD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ECE237C9-01FE-434B-ADB3-0759BBA87AFB}" type="pres">
      <dgm:prSet presAssocID="{63116F25-B8C8-47A8-813B-6C94FAC1E4FD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F2FAB826-CEAD-474E-AD43-2BE1C38B8C86}" type="pres">
      <dgm:prSet presAssocID="{63116F25-B8C8-47A8-813B-6C94FAC1E4FD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sk-SK"/>
        </a:p>
      </dgm:t>
    </dgm:pt>
  </dgm:ptLst>
  <dgm:cxnLst>
    <dgm:cxn modelId="{F2018153-1790-407B-8828-C003A34FC31F}" type="presOf" srcId="{C834394C-AC8C-4E6D-8F3C-0F0056BF9DBE}" destId="{C9AE6F0E-BDD2-4A43-8F78-1E9B12506371}" srcOrd="0" destOrd="0" presId="urn:microsoft.com/office/officeart/2005/8/layout/vProcess5"/>
    <dgm:cxn modelId="{7324FEFD-4AAB-456E-A7A0-6607C0D3AB52}" type="presOf" srcId="{45BFAF6D-BBC9-4373-A373-5D9982C04D87}" destId="{546BC233-7EB0-40F5-BCB5-584B7C71B026}" srcOrd="1" destOrd="0" presId="urn:microsoft.com/office/officeart/2005/8/layout/vProcess5"/>
    <dgm:cxn modelId="{3F939C64-A8F7-4D1F-B763-EBBD0AA54029}" type="presOf" srcId="{C39E79C3-AE48-4334-80C9-A54717BBA7C9}" destId="{A5356974-2C22-42DF-B1A0-E4DC272A4298}" srcOrd="0" destOrd="0" presId="urn:microsoft.com/office/officeart/2005/8/layout/vProcess5"/>
    <dgm:cxn modelId="{ED39B003-97DF-4F36-88BD-993558AF7EDD}" type="presOf" srcId="{C834394C-AC8C-4E6D-8F3C-0F0056BF9DBE}" destId="{D5B1B6DB-64E2-49BE-A035-F00DBAC3D21E}" srcOrd="1" destOrd="0" presId="urn:microsoft.com/office/officeart/2005/8/layout/vProcess5"/>
    <dgm:cxn modelId="{C5A286A9-9B53-45AC-BA49-275C97E6717A}" srcId="{63116F25-B8C8-47A8-813B-6C94FAC1E4FD}" destId="{45BFAF6D-BBC9-4373-A373-5D9982C04D87}" srcOrd="0" destOrd="0" parTransId="{CC58BB9C-932B-4932-9B51-2C6F8F46AEDA}" sibTransId="{3273F9A1-2A17-4C55-B2F8-5E9268BFE6A2}"/>
    <dgm:cxn modelId="{A888F4B2-BCB1-4C7C-8F04-B5C053CFD170}" type="presOf" srcId="{CBE7468E-9983-4E8C-92E8-03DD0B9E5D60}" destId="{652BC508-A1A6-423E-B7CF-C060736643A1}" srcOrd="0" destOrd="0" presId="urn:microsoft.com/office/officeart/2005/8/layout/vProcess5"/>
    <dgm:cxn modelId="{3F4209E2-AC45-41CF-ADFD-C3CE895FE44D}" type="presOf" srcId="{A63B80F3-71C0-4323-AA1C-6D969F9CFD67}" destId="{D2FD44D7-1F5E-402B-9CA9-8490391E01E3}" srcOrd="0" destOrd="0" presId="urn:microsoft.com/office/officeart/2005/8/layout/vProcess5"/>
    <dgm:cxn modelId="{31EC5C79-9A4F-4726-98ED-98C58ABE6344}" srcId="{63116F25-B8C8-47A8-813B-6C94FAC1E4FD}" destId="{C834394C-AC8C-4E6D-8F3C-0F0056BF9DBE}" srcOrd="2" destOrd="0" parTransId="{A2AA5B6D-A7E7-4942-944B-658426A8963D}" sibTransId="{2982EC1F-4447-4C2E-9D0B-493E1A9C3DFB}"/>
    <dgm:cxn modelId="{1BC1439B-1448-42B1-9766-E59F1806A17E}" type="presOf" srcId="{A63B80F3-71C0-4323-AA1C-6D969F9CFD67}" destId="{F2FAB826-CEAD-474E-AD43-2BE1C38B8C86}" srcOrd="1" destOrd="0" presId="urn:microsoft.com/office/officeart/2005/8/layout/vProcess5"/>
    <dgm:cxn modelId="{E6E2E2F7-AEA7-4981-882F-649D6CB6E973}" type="presOf" srcId="{CBE7468E-9983-4E8C-92E8-03DD0B9E5D60}" destId="{86361AEA-4DB2-47DB-92EC-6140B74CC600}" srcOrd="1" destOrd="0" presId="urn:microsoft.com/office/officeart/2005/8/layout/vProcess5"/>
    <dgm:cxn modelId="{B6BBF3B6-1774-4A5C-A68A-9B4F95A3B959}" type="presOf" srcId="{FBF5E794-952C-4059-B947-905652047D94}" destId="{EF95ED7D-B56D-44AD-8222-9B764D065FFA}" srcOrd="0" destOrd="0" presId="urn:microsoft.com/office/officeart/2005/8/layout/vProcess5"/>
    <dgm:cxn modelId="{B49128C1-C56E-4109-97E1-FF412D67D045}" type="presOf" srcId="{3273F9A1-2A17-4C55-B2F8-5E9268BFE6A2}" destId="{EF4F216D-5471-4475-9865-2FDD80065506}" srcOrd="0" destOrd="0" presId="urn:microsoft.com/office/officeart/2005/8/layout/vProcess5"/>
    <dgm:cxn modelId="{149700BA-C573-4605-AE01-781891FF7EFB}" srcId="{63116F25-B8C8-47A8-813B-6C94FAC1E4FD}" destId="{4ED98B26-2CA5-4F92-887A-A6884D0699F5}" srcOrd="3" destOrd="0" parTransId="{BB2E5891-C8C9-4B62-ADEF-74719636272C}" sibTransId="{C39E79C3-AE48-4334-80C9-A54717BBA7C9}"/>
    <dgm:cxn modelId="{C2F597AD-EB3B-46DD-BDDD-BC797D6908B3}" type="presOf" srcId="{4ED98B26-2CA5-4F92-887A-A6884D0699F5}" destId="{ECE237C9-01FE-434B-ADB3-0759BBA87AFB}" srcOrd="1" destOrd="0" presId="urn:microsoft.com/office/officeart/2005/8/layout/vProcess5"/>
    <dgm:cxn modelId="{D3962D5B-5323-4FDB-A35E-C5255BFE1396}" type="presOf" srcId="{4ED98B26-2CA5-4F92-887A-A6884D0699F5}" destId="{5295DBFB-B07B-4E17-9B97-2FD8134F0D1E}" srcOrd="0" destOrd="0" presId="urn:microsoft.com/office/officeart/2005/8/layout/vProcess5"/>
    <dgm:cxn modelId="{845AB1B3-2B58-4F46-9094-784BF88ED411}" srcId="{63116F25-B8C8-47A8-813B-6C94FAC1E4FD}" destId="{CBE7468E-9983-4E8C-92E8-03DD0B9E5D60}" srcOrd="1" destOrd="0" parTransId="{204BD045-54EC-44C1-B524-B989DAB66E70}" sibTransId="{FBF5E794-952C-4059-B947-905652047D94}"/>
    <dgm:cxn modelId="{B3923FE9-72C9-4423-9233-0346A966C4D1}" type="presOf" srcId="{45BFAF6D-BBC9-4373-A373-5D9982C04D87}" destId="{E082697F-1E14-4E75-86B4-E5E9C26D88CE}" srcOrd="0" destOrd="0" presId="urn:microsoft.com/office/officeart/2005/8/layout/vProcess5"/>
    <dgm:cxn modelId="{F3E7E184-A4FD-4343-80F8-676A4859FCBD}" srcId="{63116F25-B8C8-47A8-813B-6C94FAC1E4FD}" destId="{A63B80F3-71C0-4323-AA1C-6D969F9CFD67}" srcOrd="4" destOrd="0" parTransId="{643659C9-1087-4DA3-BB23-5EB3C13E244E}" sibTransId="{E0C2AF8B-1F7F-472E-825E-8AEA57C962B0}"/>
    <dgm:cxn modelId="{CF457E25-371D-4F9C-B639-CA611022EE0C}" type="presOf" srcId="{63116F25-B8C8-47A8-813B-6C94FAC1E4FD}" destId="{95E1BE32-135E-4F6A-A5A5-08C8C40EB15A}" srcOrd="0" destOrd="0" presId="urn:microsoft.com/office/officeart/2005/8/layout/vProcess5"/>
    <dgm:cxn modelId="{35669B6B-7C13-4101-8E30-416B139887DD}" type="presOf" srcId="{2982EC1F-4447-4C2E-9D0B-493E1A9C3DFB}" destId="{414D7B89-622B-4CFF-B59D-6A7005AD4536}" srcOrd="0" destOrd="0" presId="urn:microsoft.com/office/officeart/2005/8/layout/vProcess5"/>
    <dgm:cxn modelId="{935623EF-8119-4056-8D0C-688F62CE9977}" type="presParOf" srcId="{95E1BE32-135E-4F6A-A5A5-08C8C40EB15A}" destId="{DB6B0B9B-0EFF-48AF-B620-B9E9A4DFD391}" srcOrd="0" destOrd="0" presId="urn:microsoft.com/office/officeart/2005/8/layout/vProcess5"/>
    <dgm:cxn modelId="{963CC9DB-BB8F-41B3-B7BD-85B4DA0D6C3F}" type="presParOf" srcId="{95E1BE32-135E-4F6A-A5A5-08C8C40EB15A}" destId="{E082697F-1E14-4E75-86B4-E5E9C26D88CE}" srcOrd="1" destOrd="0" presId="urn:microsoft.com/office/officeart/2005/8/layout/vProcess5"/>
    <dgm:cxn modelId="{AC2A84A9-7B9F-4852-8DCA-B885C926E5D6}" type="presParOf" srcId="{95E1BE32-135E-4F6A-A5A5-08C8C40EB15A}" destId="{652BC508-A1A6-423E-B7CF-C060736643A1}" srcOrd="2" destOrd="0" presId="urn:microsoft.com/office/officeart/2005/8/layout/vProcess5"/>
    <dgm:cxn modelId="{972038C7-0C55-40FB-AA4F-FBE3EDB89CC1}" type="presParOf" srcId="{95E1BE32-135E-4F6A-A5A5-08C8C40EB15A}" destId="{C9AE6F0E-BDD2-4A43-8F78-1E9B12506371}" srcOrd="3" destOrd="0" presId="urn:microsoft.com/office/officeart/2005/8/layout/vProcess5"/>
    <dgm:cxn modelId="{AEAAFC4E-D7AA-4185-9954-1E5EAE8F0DD0}" type="presParOf" srcId="{95E1BE32-135E-4F6A-A5A5-08C8C40EB15A}" destId="{5295DBFB-B07B-4E17-9B97-2FD8134F0D1E}" srcOrd="4" destOrd="0" presId="urn:microsoft.com/office/officeart/2005/8/layout/vProcess5"/>
    <dgm:cxn modelId="{F2356346-95CE-4478-9127-26A4A9CA8EED}" type="presParOf" srcId="{95E1BE32-135E-4F6A-A5A5-08C8C40EB15A}" destId="{D2FD44D7-1F5E-402B-9CA9-8490391E01E3}" srcOrd="5" destOrd="0" presId="urn:microsoft.com/office/officeart/2005/8/layout/vProcess5"/>
    <dgm:cxn modelId="{FD21C584-DE30-48F5-A9A9-04CE9D9CFD5F}" type="presParOf" srcId="{95E1BE32-135E-4F6A-A5A5-08C8C40EB15A}" destId="{EF4F216D-5471-4475-9865-2FDD80065506}" srcOrd="6" destOrd="0" presId="urn:microsoft.com/office/officeart/2005/8/layout/vProcess5"/>
    <dgm:cxn modelId="{8AB5368F-A772-4DF6-98A2-EEAF39BE9BDD}" type="presParOf" srcId="{95E1BE32-135E-4F6A-A5A5-08C8C40EB15A}" destId="{EF95ED7D-B56D-44AD-8222-9B764D065FFA}" srcOrd="7" destOrd="0" presId="urn:microsoft.com/office/officeart/2005/8/layout/vProcess5"/>
    <dgm:cxn modelId="{F9E13614-4FA7-4E79-9268-075EC7868BA0}" type="presParOf" srcId="{95E1BE32-135E-4F6A-A5A5-08C8C40EB15A}" destId="{414D7B89-622B-4CFF-B59D-6A7005AD4536}" srcOrd="8" destOrd="0" presId="urn:microsoft.com/office/officeart/2005/8/layout/vProcess5"/>
    <dgm:cxn modelId="{F41C62DD-F8A7-45E0-AD96-E35F09A3E913}" type="presParOf" srcId="{95E1BE32-135E-4F6A-A5A5-08C8C40EB15A}" destId="{A5356974-2C22-42DF-B1A0-E4DC272A4298}" srcOrd="9" destOrd="0" presId="urn:microsoft.com/office/officeart/2005/8/layout/vProcess5"/>
    <dgm:cxn modelId="{6EB8BADF-28ED-47EB-9959-285786D73DA7}" type="presParOf" srcId="{95E1BE32-135E-4F6A-A5A5-08C8C40EB15A}" destId="{546BC233-7EB0-40F5-BCB5-584B7C71B026}" srcOrd="10" destOrd="0" presId="urn:microsoft.com/office/officeart/2005/8/layout/vProcess5"/>
    <dgm:cxn modelId="{20BFAE85-31F5-4FF0-AF71-8056F3A0F5FC}" type="presParOf" srcId="{95E1BE32-135E-4F6A-A5A5-08C8C40EB15A}" destId="{86361AEA-4DB2-47DB-92EC-6140B74CC600}" srcOrd="11" destOrd="0" presId="urn:microsoft.com/office/officeart/2005/8/layout/vProcess5"/>
    <dgm:cxn modelId="{65D2DF16-CCA5-4C0E-B1D0-22BA98437CC5}" type="presParOf" srcId="{95E1BE32-135E-4F6A-A5A5-08C8C40EB15A}" destId="{D5B1B6DB-64E2-49BE-A035-F00DBAC3D21E}" srcOrd="12" destOrd="0" presId="urn:microsoft.com/office/officeart/2005/8/layout/vProcess5"/>
    <dgm:cxn modelId="{2C0EBA13-C290-4460-8E1A-D5EF6DCA998A}" type="presParOf" srcId="{95E1BE32-135E-4F6A-A5A5-08C8C40EB15A}" destId="{ECE237C9-01FE-434B-ADB3-0759BBA87AFB}" srcOrd="13" destOrd="0" presId="urn:microsoft.com/office/officeart/2005/8/layout/vProcess5"/>
    <dgm:cxn modelId="{C9EA9C9B-421F-41AD-9C5C-A69AE8E8658E}" type="presParOf" srcId="{95E1BE32-135E-4F6A-A5A5-08C8C40EB15A}" destId="{F2FAB826-CEAD-474E-AD43-2BE1C38B8C86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765E5D-49CE-4D3A-BEFC-5530E2AA6CDF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k-SK"/>
        </a:p>
      </dgm:t>
    </dgm:pt>
    <dgm:pt modelId="{E1D1903C-903B-4515-9159-59376DD019A9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b="1" noProof="0" dirty="0" smtClean="0">
              <a:latin typeface="Arial Narrow" panose="020B0606020202030204" pitchFamily="34" charset="0"/>
            </a:rPr>
            <a:t>Structural Policy Challenges </a:t>
          </a:r>
          <a:r>
            <a:rPr lang="sk-SK" sz="1200" b="1" noProof="0" dirty="0" smtClean="0">
              <a:latin typeface="Arial Narrow" panose="020B0606020202030204" pitchFamily="34" charset="0"/>
            </a:rPr>
            <a:t/>
          </a:r>
          <a:br>
            <a:rPr lang="sk-SK" sz="1200" b="1" noProof="0" dirty="0" smtClean="0">
              <a:latin typeface="Arial Narrow" panose="020B0606020202030204" pitchFamily="34" charset="0"/>
            </a:rPr>
          </a:br>
          <a:r>
            <a:rPr lang="sk-SK" sz="1200" b="1" dirty="0" smtClean="0">
              <a:latin typeface="Arial Narrow" panose="020B0606020202030204" pitchFamily="34" charset="0"/>
            </a:rPr>
            <a:t>in </a:t>
          </a:r>
          <a:r>
            <a:rPr lang="sk-SK" sz="1200" b="1" dirty="0">
              <a:latin typeface="Arial Narrow" panose="020B0606020202030204" pitchFamily="34" charset="0"/>
            </a:rPr>
            <a:t>Slovakia </a:t>
          </a:r>
          <a:br>
            <a:rPr lang="sk-SK" sz="1200" b="1" dirty="0">
              <a:latin typeface="Arial Narrow" panose="020B0606020202030204" pitchFamily="34" charset="0"/>
            </a:rPr>
          </a:br>
          <a:r>
            <a:rPr lang="sk-SK" sz="1200" b="1" dirty="0">
              <a:latin typeface="Arial Narrow" panose="020B0606020202030204" pitchFamily="34" charset="0"/>
            </a:rPr>
            <a:t>(NBS, 2010)</a:t>
          </a:r>
        </a:p>
      </dgm:t>
    </dgm:pt>
    <dgm:pt modelId="{AA54DDA9-F79F-48D0-BD46-DA9C00239778}" type="parTrans" cxnId="{F4D3953A-944F-4574-B188-92F6D3330101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18C61C1A-B410-4458-9285-407052658137}" type="sibTrans" cxnId="{F4D3953A-944F-4574-B188-92F6D3330101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3D900F2F-4812-4DEB-87CB-83DBD4070E2D}">
      <dgm:prSet phldrT="[Text]" custT="1"/>
      <dgm:spPr/>
      <dgm:t>
        <a:bodyPr/>
        <a:lstStyle/>
        <a:p>
          <a:r>
            <a:rPr lang="en-US" sz="1500" b="1" noProof="0" dirty="0" smtClean="0">
              <a:latin typeface="Arial Narrow" panose="020B0606020202030204" pitchFamily="34" charset="0"/>
            </a:rPr>
            <a:t>discussion paper about approaches to quality</a:t>
          </a:r>
          <a:r>
            <a:rPr lang="sk-SK" sz="1500" b="1" noProof="0" dirty="0" smtClean="0">
              <a:latin typeface="Arial Narrow" panose="020B0606020202030204" pitchFamily="34" charset="0"/>
            </a:rPr>
            <a:t> </a:t>
          </a:r>
          <a:r>
            <a:rPr lang="en-US" sz="1500" b="1" noProof="0" dirty="0" smtClean="0">
              <a:latin typeface="Arial Narrow" panose="020B0606020202030204" pitchFamily="34" charset="0"/>
            </a:rPr>
            <a:t>of life measurement</a:t>
          </a:r>
          <a:endParaRPr lang="sk-SK" sz="1500" b="1" dirty="0">
            <a:latin typeface="Arial Narrow" panose="020B0606020202030204" pitchFamily="34" charset="0"/>
          </a:endParaRPr>
        </a:p>
      </dgm:t>
    </dgm:pt>
    <dgm:pt modelId="{0B870D08-87B0-456F-BB99-1CAB149A89DC}" type="parTrans" cxnId="{CF6E8798-16E4-4110-AE80-57886B0DD75C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D7245463-0292-4D74-866C-B4F92EF066E7}" type="sibTrans" cxnId="{CF6E8798-16E4-4110-AE80-57886B0DD75C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054E518E-E954-44AA-89B2-2EEC81C14145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b="1" noProof="0" dirty="0" smtClean="0">
              <a:latin typeface="Arial Narrow" panose="020B0606020202030204" pitchFamily="34" charset="0"/>
            </a:rPr>
            <a:t>National Reform program (2010, yearly)</a:t>
          </a:r>
          <a:endParaRPr lang="en-US" sz="1200" b="1" noProof="0" dirty="0">
            <a:latin typeface="Arial Narrow" panose="020B0606020202030204" pitchFamily="34" charset="0"/>
          </a:endParaRPr>
        </a:p>
      </dgm:t>
    </dgm:pt>
    <dgm:pt modelId="{3633814F-C6B2-462E-8D55-276AC07BFC56}" type="parTrans" cxnId="{08BCFE3F-C2E3-44D4-8B76-F017CF3CFBC9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F46D2CC7-0534-48D9-9941-629D2877F62C}" type="sibTrans" cxnId="{08BCFE3F-C2E3-44D4-8B76-F017CF3CFBC9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FAF2F701-6A7C-4933-B6B7-9CA9EDFDFD14}">
      <dgm:prSet phldrT="[Text]" custT="1"/>
      <dgm:spPr/>
      <dgm:t>
        <a:bodyPr/>
        <a:lstStyle/>
        <a:p>
          <a:r>
            <a:rPr lang="en-US" sz="1500" b="1" noProof="0" dirty="0" smtClean="0">
              <a:latin typeface="Arial Narrow" panose="020B0606020202030204" pitchFamily="34" charset="0"/>
            </a:rPr>
            <a:t>government priorities based on previous study </a:t>
          </a:r>
          <a:r>
            <a:rPr lang="sk-SK" sz="1500" b="1" dirty="0" smtClean="0">
              <a:latin typeface="Arial Narrow" panose="020B0606020202030204" pitchFamily="34" charset="0"/>
            </a:rPr>
            <a:t>(</a:t>
          </a:r>
          <a:r>
            <a:rPr lang="sk-SK" sz="1500" b="1" dirty="0">
              <a:latin typeface="Arial Narrow" panose="020B0606020202030204" pitchFamily="34" charset="0"/>
            </a:rPr>
            <a:t>NBS, 2010)</a:t>
          </a:r>
        </a:p>
      </dgm:t>
    </dgm:pt>
    <dgm:pt modelId="{51BA28F4-9FA9-4D61-BBB0-2C809BA1AA2C}" type="parTrans" cxnId="{1257C41A-ECD3-45C9-8DD1-0AF60D45D308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DC2D9DDF-52EE-48C5-BFE9-6C9F765599D1}" type="sibTrans" cxnId="{1257C41A-ECD3-45C9-8DD1-0AF60D45D308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7042930A-5076-47E8-B743-5A41DF57E43D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b="1" noProof="0" dirty="0" smtClean="0">
              <a:latin typeface="Arial Narrow" panose="020B0606020202030204" pitchFamily="34" charset="0"/>
            </a:rPr>
            <a:t>How to measure progress</a:t>
          </a:r>
          <a:endParaRPr lang="sk-SK" sz="1200" b="1" noProof="0" dirty="0" smtClean="0">
            <a:latin typeface="Arial Narrow" panose="020B0606020202030204" pitchFamily="34" charset="0"/>
          </a:endParaRPr>
        </a:p>
        <a:p>
          <a:r>
            <a:rPr lang="sk-SK" sz="1200" b="1" dirty="0" smtClean="0">
              <a:latin typeface="Arial Narrow" panose="020B0606020202030204" pitchFamily="34" charset="0"/>
            </a:rPr>
            <a:t>(IFP</a:t>
          </a:r>
          <a:r>
            <a:rPr lang="sk-SK" sz="1200" b="1" dirty="0">
              <a:latin typeface="Arial Narrow" panose="020B0606020202030204" pitchFamily="34" charset="0"/>
            </a:rPr>
            <a:t>, 2013)</a:t>
          </a:r>
        </a:p>
      </dgm:t>
    </dgm:pt>
    <dgm:pt modelId="{D11BD6CA-3D35-4DB6-BB8A-759D05FB1E0C}" type="parTrans" cxnId="{6748A397-A066-436D-A081-474576B1EA7D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74F8F396-745D-43CD-92F6-C9A6151EF3F5}" type="sibTrans" cxnId="{6748A397-A066-436D-A081-474576B1EA7D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5300223E-C4EC-445B-83A6-9727ED7BB834}">
      <dgm:prSet phldrT="[Text]" custT="1"/>
      <dgm:spPr/>
      <dgm:t>
        <a:bodyPr/>
        <a:lstStyle/>
        <a:p>
          <a:r>
            <a:rPr lang="en-US" sz="1500" b="1" noProof="0" dirty="0" smtClean="0">
              <a:latin typeface="Arial Narrow" panose="020B0606020202030204" pitchFamily="34" charset="0"/>
            </a:rPr>
            <a:t>proposal of outcome indicators for line</a:t>
          </a:r>
          <a:r>
            <a:rPr lang="sk-SK" sz="1500" b="1" noProof="0" dirty="0" smtClean="0">
              <a:latin typeface="Arial Narrow" panose="020B0606020202030204" pitchFamily="34" charset="0"/>
            </a:rPr>
            <a:t> </a:t>
          </a:r>
          <a:r>
            <a:rPr lang="en-US" sz="1500" b="1" noProof="0" dirty="0" smtClean="0">
              <a:latin typeface="Arial Narrow" panose="020B0606020202030204" pitchFamily="34" charset="0"/>
            </a:rPr>
            <a:t>ministries</a:t>
          </a:r>
          <a:endParaRPr lang="en-US" sz="1500" b="1" noProof="0" dirty="0">
            <a:latin typeface="Arial Narrow" panose="020B0606020202030204" pitchFamily="34" charset="0"/>
          </a:endParaRPr>
        </a:p>
      </dgm:t>
    </dgm:pt>
    <dgm:pt modelId="{2D52F251-39D2-42D4-9E73-C8DFE8C6B847}" type="parTrans" cxnId="{9F899F63-B114-4FAE-9B81-9665280508E7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63C9E3D0-109C-4360-B0D5-AD87E4EBD21A}" type="sibTrans" cxnId="{9F899F63-B114-4FAE-9B81-9665280508E7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41AAB6BA-9AB1-4017-AA9F-50559748EDDF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2000" b="1" noProof="0" dirty="0" smtClean="0">
              <a:latin typeface="Arial Narrow" panose="020B0606020202030204" pitchFamily="34" charset="0"/>
            </a:rPr>
            <a:t>Spending reviews </a:t>
          </a:r>
          <a:endParaRPr lang="sk-SK" sz="2000" b="1" noProof="0" dirty="0" smtClean="0">
            <a:latin typeface="Arial Narrow" panose="020B0606020202030204" pitchFamily="34" charset="0"/>
          </a:endParaRPr>
        </a:p>
        <a:p>
          <a:r>
            <a:rPr lang="en-US" sz="2000" b="1" noProof="0" dirty="0" smtClean="0">
              <a:latin typeface="Arial Narrow" panose="020B0606020202030204" pitchFamily="34" charset="0"/>
            </a:rPr>
            <a:t>(since 2016)</a:t>
          </a:r>
          <a:endParaRPr lang="en-US" sz="2000" b="1" noProof="0" dirty="0">
            <a:latin typeface="Arial Narrow" panose="020B0606020202030204" pitchFamily="34" charset="0"/>
          </a:endParaRPr>
        </a:p>
      </dgm:t>
    </dgm:pt>
    <dgm:pt modelId="{DFC6C2E4-0060-45E6-9BF5-A8BCC963ABC8}" type="parTrans" cxnId="{95A8CB50-7D5F-49C9-A5F3-DE38C72398BB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4C02B781-3499-4E52-ACB1-DE42F25AE6CB}" type="sibTrans" cxnId="{95A8CB50-7D5F-49C9-A5F3-DE38C72398BB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5E3A2829-52CD-425E-8884-520D174D0EA8}">
      <dgm:prSet phldrT="[Text]" custT="1"/>
      <dgm:spPr>
        <a:noFill/>
      </dgm:spPr>
      <dgm:t>
        <a:bodyPr/>
        <a:lstStyle/>
        <a:p>
          <a:r>
            <a:rPr lang="en-US" sz="1600" b="1" noProof="0" dirty="0" smtClean="0">
              <a:latin typeface="Arial Narrow" panose="020B0606020202030204" pitchFamily="34" charset="0"/>
            </a:rPr>
            <a:t>outcome indicators </a:t>
          </a:r>
          <a:r>
            <a:rPr lang="sk-SK" sz="1600" b="1" noProof="0" dirty="0" smtClean="0">
              <a:latin typeface="Arial Narrow" panose="020B0606020202030204" pitchFamily="34" charset="0"/>
            </a:rPr>
            <a:t/>
          </a:r>
          <a:br>
            <a:rPr lang="sk-SK" sz="1600" b="1" noProof="0" dirty="0" smtClean="0">
              <a:latin typeface="Arial Narrow" panose="020B0606020202030204" pitchFamily="34" charset="0"/>
            </a:rPr>
          </a:br>
          <a:r>
            <a:rPr lang="en-US" sz="1600" b="1" noProof="0" dirty="0" smtClean="0">
              <a:latin typeface="Arial Narrow" panose="020B0606020202030204" pitchFamily="34" charset="0"/>
            </a:rPr>
            <a:t>reflected in budget</a:t>
          </a:r>
          <a:endParaRPr lang="en-US" sz="1600" b="1" noProof="0" dirty="0">
            <a:latin typeface="Arial Narrow" panose="020B0606020202030204" pitchFamily="34" charset="0"/>
          </a:endParaRPr>
        </a:p>
      </dgm:t>
    </dgm:pt>
    <dgm:pt modelId="{A9F14021-29EA-426A-9AB8-D2CEB110FC09}" type="parTrans" cxnId="{8E4A4C82-BC75-476F-8ADA-D330ACE6D20C}">
      <dgm:prSet/>
      <dgm:spPr/>
      <dgm:t>
        <a:bodyPr/>
        <a:lstStyle/>
        <a:p>
          <a:endParaRPr lang="sk-SK" sz="2000" b="1"/>
        </a:p>
      </dgm:t>
    </dgm:pt>
    <dgm:pt modelId="{7AFCB409-0CA6-44DF-93D7-AD535BD687CC}" type="sibTrans" cxnId="{8E4A4C82-BC75-476F-8ADA-D330ACE6D20C}">
      <dgm:prSet/>
      <dgm:spPr/>
      <dgm:t>
        <a:bodyPr/>
        <a:lstStyle/>
        <a:p>
          <a:endParaRPr lang="sk-SK" sz="2000" b="1"/>
        </a:p>
      </dgm:t>
    </dgm:pt>
    <dgm:pt modelId="{F5E057B2-2F6B-4A06-9950-FC7958B03331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200" b="1" noProof="0" dirty="0" smtClean="0">
              <a:latin typeface="Arial Narrow" panose="020B0606020202030204" pitchFamily="34" charset="0"/>
            </a:rPr>
            <a:t>Budget structure for Education</a:t>
          </a:r>
          <a:endParaRPr lang="sk-SK" sz="1200" b="1" noProof="0" dirty="0" smtClean="0">
            <a:latin typeface="Arial Narrow" panose="020B0606020202030204" pitchFamily="34" charset="0"/>
          </a:endParaRPr>
        </a:p>
        <a:p>
          <a:r>
            <a:rPr lang="sk-SK" sz="1200" b="1" noProof="0" dirty="0" smtClean="0">
              <a:latin typeface="Arial Narrow" panose="020B0606020202030204" pitchFamily="34" charset="0"/>
            </a:rPr>
            <a:t>(IFP, 2014)</a:t>
          </a:r>
          <a:endParaRPr lang="en-US" sz="1200" b="1" noProof="0" dirty="0">
            <a:latin typeface="Arial Narrow" panose="020B0606020202030204" pitchFamily="34" charset="0"/>
          </a:endParaRPr>
        </a:p>
      </dgm:t>
    </dgm:pt>
    <dgm:pt modelId="{E53124B9-836F-48ED-A403-27893A3BCD78}" type="parTrans" cxnId="{8199770A-761D-44C8-83B9-A1931F77D049}">
      <dgm:prSet/>
      <dgm:spPr/>
      <dgm:t>
        <a:bodyPr/>
        <a:lstStyle/>
        <a:p>
          <a:endParaRPr lang="sk-SK"/>
        </a:p>
      </dgm:t>
    </dgm:pt>
    <dgm:pt modelId="{66436BDC-D8D1-4644-8709-35FDFF7E890E}" type="sibTrans" cxnId="{8199770A-761D-44C8-83B9-A1931F77D049}">
      <dgm:prSet/>
      <dgm:spPr/>
      <dgm:t>
        <a:bodyPr/>
        <a:lstStyle/>
        <a:p>
          <a:endParaRPr lang="sk-SK"/>
        </a:p>
      </dgm:t>
    </dgm:pt>
    <dgm:pt modelId="{21307B35-FD8F-4460-8902-085E70383E6C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500" b="1" noProof="0" dirty="0" smtClean="0">
              <a:latin typeface="Arial Narrow" panose="020B0606020202030204" pitchFamily="34" charset="0"/>
            </a:rPr>
            <a:t>Proposal of budget structure for Ministry</a:t>
          </a:r>
          <a:r>
            <a:rPr lang="sk-SK" sz="1500" b="1" noProof="0" dirty="0" smtClean="0">
              <a:latin typeface="Arial Narrow" panose="020B0606020202030204" pitchFamily="34" charset="0"/>
            </a:rPr>
            <a:t> </a:t>
          </a:r>
          <a:r>
            <a:rPr lang="en-US" sz="1500" b="1" noProof="0" dirty="0" smtClean="0">
              <a:latin typeface="Arial Narrow" panose="020B0606020202030204" pitchFamily="34" charset="0"/>
            </a:rPr>
            <a:t>of Education</a:t>
          </a:r>
          <a:endParaRPr lang="en-US" sz="1500" b="1" noProof="0" dirty="0">
            <a:latin typeface="Arial Narrow" panose="020B0606020202030204" pitchFamily="34" charset="0"/>
          </a:endParaRPr>
        </a:p>
      </dgm:t>
    </dgm:pt>
    <dgm:pt modelId="{41BCAE8C-2275-4153-94E8-8910697A39C6}" type="parTrans" cxnId="{461F8EC5-EA87-4722-9E8E-1510CC9BA5DD}">
      <dgm:prSet/>
      <dgm:spPr/>
      <dgm:t>
        <a:bodyPr/>
        <a:lstStyle/>
        <a:p>
          <a:endParaRPr lang="sk-SK"/>
        </a:p>
      </dgm:t>
    </dgm:pt>
    <dgm:pt modelId="{FE49740A-3597-4B13-9F6A-174F51E3D8DC}" type="sibTrans" cxnId="{461F8EC5-EA87-4722-9E8E-1510CC9BA5DD}">
      <dgm:prSet/>
      <dgm:spPr/>
      <dgm:t>
        <a:bodyPr/>
        <a:lstStyle/>
        <a:p>
          <a:endParaRPr lang="sk-SK"/>
        </a:p>
      </dgm:t>
    </dgm:pt>
    <dgm:pt modelId="{03D0B1FC-9972-471A-9566-8F3B88EC4424}" type="pres">
      <dgm:prSet presAssocID="{57765E5D-49CE-4D3A-BEFC-5530E2AA6CDF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sk-SK"/>
        </a:p>
      </dgm:t>
    </dgm:pt>
    <dgm:pt modelId="{C5D677A9-F65B-43BA-BB8C-7BBECCE11D7C}" type="pres">
      <dgm:prSet presAssocID="{E1D1903C-903B-4515-9159-59376DD019A9}" presName="composite" presStyleCnt="0"/>
      <dgm:spPr/>
    </dgm:pt>
    <dgm:pt modelId="{4A808204-1DE1-4F1C-AA16-EE07367270AD}" type="pres">
      <dgm:prSet presAssocID="{E1D1903C-903B-4515-9159-59376DD019A9}" presName="bentUpArrow1" presStyleLbl="alignImgPlace1" presStyleIdx="0" presStyleCnt="4" custLinFactNeighborX="29258" custLinFactNeighborY="10896"/>
      <dgm:spPr/>
    </dgm:pt>
    <dgm:pt modelId="{CB1635F9-E0CD-4F68-AE51-7C73F0DEE594}" type="pres">
      <dgm:prSet presAssocID="{E1D1903C-903B-4515-9159-59376DD019A9}" presName="ParentText" presStyleLbl="node1" presStyleIdx="0" presStyleCnt="5" custScaleX="115930" custScaleY="10986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EFC33901-A1C3-4EF6-9AD7-C5C0D41C0DEE}" type="pres">
      <dgm:prSet presAssocID="{E1D1903C-903B-4515-9159-59376DD019A9}" presName="ChildText" presStyleLbl="revTx" presStyleIdx="0" presStyleCnt="5" custScaleX="365941" custScaleY="73413" custLinFactX="56866" custLinFactNeighborX="100000" custLinFactNeighborY="-16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A3787AC3-0F60-4388-8469-6FFDA4174E96}" type="pres">
      <dgm:prSet presAssocID="{18C61C1A-B410-4458-9285-407052658137}" presName="sibTrans" presStyleCnt="0"/>
      <dgm:spPr/>
    </dgm:pt>
    <dgm:pt modelId="{EA7107C1-7B82-4636-87C8-0A5FFF75BEFC}" type="pres">
      <dgm:prSet presAssocID="{054E518E-E954-44AA-89B2-2EEC81C14145}" presName="composite" presStyleCnt="0"/>
      <dgm:spPr/>
    </dgm:pt>
    <dgm:pt modelId="{2F0E6C08-B163-4CEA-8F9A-7C1DD4210F37}" type="pres">
      <dgm:prSet presAssocID="{054E518E-E954-44AA-89B2-2EEC81C14145}" presName="bentUpArrow1" presStyleLbl="alignImgPlace1" presStyleIdx="1" presStyleCnt="4" custLinFactNeighborX="-47758" custLinFactNeighborY="-5489"/>
      <dgm:spPr/>
    </dgm:pt>
    <dgm:pt modelId="{8B1E1F8B-DBAC-4248-8325-FC2AABB5D1AF}" type="pres">
      <dgm:prSet presAssocID="{054E518E-E954-44AA-89B2-2EEC81C14145}" presName="ParentText" presStyleLbl="node1" presStyleIdx="1" presStyleCnt="5" custLinFactNeighborX="-47388" custLinFactNeighborY="-1255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281F6E99-00DB-43BC-A627-40F807012B6F}" type="pres">
      <dgm:prSet presAssocID="{054E518E-E954-44AA-89B2-2EEC81C14145}" presName="ChildText" presStyleLbl="revTx" presStyleIdx="1" presStyleCnt="5" custScaleX="470562" custLinFactX="29908" custLinFactNeighborX="100000" custLinFactNeighborY="-164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BD6C0A33-F001-4E54-BC42-B7AE152E1B91}" type="pres">
      <dgm:prSet presAssocID="{F46D2CC7-0534-48D9-9941-629D2877F62C}" presName="sibTrans" presStyleCnt="0"/>
      <dgm:spPr/>
    </dgm:pt>
    <dgm:pt modelId="{98DB9FC9-F2CA-4E1F-85CA-D8E9F7EBFACA}" type="pres">
      <dgm:prSet presAssocID="{7042930A-5076-47E8-B743-5A41DF57E43D}" presName="composite" presStyleCnt="0"/>
      <dgm:spPr/>
    </dgm:pt>
    <dgm:pt modelId="{21C00A2A-4FA3-4599-960B-891852FCBC38}" type="pres">
      <dgm:prSet presAssocID="{7042930A-5076-47E8-B743-5A41DF57E43D}" presName="bentUpArrow1" presStyleLbl="alignImgPlace1" presStyleIdx="2" presStyleCnt="4" custLinFactNeighborX="-28242" custLinFactNeighborY="0"/>
      <dgm:spPr/>
    </dgm:pt>
    <dgm:pt modelId="{E0C54748-3657-4405-8ADF-6D46EDB493C9}" type="pres">
      <dgm:prSet presAssocID="{7042930A-5076-47E8-B743-5A41DF57E43D}" presName="ParentText" presStyleLbl="node1" presStyleIdx="2" presStyleCnt="5" custLinFactNeighborX="-45362" custLinFactNeighborY="-1137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0B29005E-60DD-4CC1-B0E4-987CDBE09391}" type="pres">
      <dgm:prSet presAssocID="{7042930A-5076-47E8-B743-5A41DF57E43D}" presName="ChildText" presStyleLbl="revTx" presStyleIdx="2" presStyleCnt="5" custScaleX="294885" custLinFactNeighborX="53522" custLinFactNeighborY="-1133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62CE3E4F-A98F-4005-9509-806A0F6CB070}" type="pres">
      <dgm:prSet presAssocID="{74F8F396-745D-43CD-92F6-C9A6151EF3F5}" presName="sibTrans" presStyleCnt="0"/>
      <dgm:spPr/>
    </dgm:pt>
    <dgm:pt modelId="{AFC19745-7D29-4919-8BD9-392AEAC48E30}" type="pres">
      <dgm:prSet presAssocID="{F5E057B2-2F6B-4A06-9950-FC7958B03331}" presName="composite" presStyleCnt="0"/>
      <dgm:spPr/>
    </dgm:pt>
    <dgm:pt modelId="{B9D11210-5EFF-4F6A-AF3E-C60E77AAA22E}" type="pres">
      <dgm:prSet presAssocID="{F5E057B2-2F6B-4A06-9950-FC7958B03331}" presName="bentUpArrow1" presStyleLbl="alignImgPlace1" presStyleIdx="3" presStyleCnt="4" custLinFactNeighborX="-34830" custLinFactNeighborY="3499"/>
      <dgm:spPr/>
    </dgm:pt>
    <dgm:pt modelId="{9BAF9133-0E4A-4D20-994D-56EAFB7D88B2}" type="pres">
      <dgm:prSet presAssocID="{F5E057B2-2F6B-4A06-9950-FC7958B03331}" presName="ParentText" presStyleLbl="node1" presStyleIdx="3" presStyleCnt="5" custLinFactNeighborX="-57315" custLinFactNeighborY="-366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7DC5A958-C728-4C29-93E9-446C1F21D55B}" type="pres">
      <dgm:prSet presAssocID="{F5E057B2-2F6B-4A06-9950-FC7958B03331}" presName="ChildText" presStyleLbl="revTx" presStyleIdx="3" presStyleCnt="5" custScaleX="339772" custLinFactNeighborX="58939" custLinFactNeighborY="3093">
        <dgm:presLayoutVars>
          <dgm:chMax val="0"/>
          <dgm:chPref val="0"/>
          <dgm:bulletEnabled val="1"/>
        </dgm:presLayoutVars>
      </dgm:prSet>
      <dgm:spPr>
        <a:noFill/>
      </dgm:spPr>
      <dgm:t>
        <a:bodyPr/>
        <a:lstStyle/>
        <a:p>
          <a:endParaRPr lang="sk-SK"/>
        </a:p>
      </dgm:t>
    </dgm:pt>
    <dgm:pt modelId="{5255FA48-69B3-4B41-A998-D14BCE7CC204}" type="pres">
      <dgm:prSet presAssocID="{66436BDC-D8D1-4644-8709-35FDFF7E890E}" presName="sibTrans" presStyleCnt="0"/>
      <dgm:spPr/>
    </dgm:pt>
    <dgm:pt modelId="{C0C61296-F304-4C6F-89D2-CAB0B915FD35}" type="pres">
      <dgm:prSet presAssocID="{41AAB6BA-9AB1-4017-AA9F-50559748EDDF}" presName="composite" presStyleCnt="0"/>
      <dgm:spPr/>
    </dgm:pt>
    <dgm:pt modelId="{3BC44DD9-BEB6-45B5-BF5F-99A00B5BA31E}" type="pres">
      <dgm:prSet presAssocID="{41AAB6BA-9AB1-4017-AA9F-50559748EDDF}" presName="ParentText" presStyleLbl="node1" presStyleIdx="4" presStyleCnt="5" custScaleX="185637" custScaleY="139722" custLinFactNeighborX="-68257" custLinFactNeighborY="-1249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591F8818-B6F2-42E9-9A4E-3C8BAF0A1486}" type="pres">
      <dgm:prSet presAssocID="{41AAB6BA-9AB1-4017-AA9F-50559748EDDF}" presName="FinalChildText" presStyleLbl="revTx" presStyleIdx="4" presStyleCnt="5" custScaleX="185964" custLinFactNeighborX="639" custLinFactNeighborY="-1230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</dgm:ptLst>
  <dgm:cxnLst>
    <dgm:cxn modelId="{9C8844C4-3D94-4800-9AE6-DAFC9FEE3BEE}" type="presOf" srcId="{FAF2F701-6A7C-4933-B6B7-9CA9EDFDFD14}" destId="{281F6E99-00DB-43BC-A627-40F807012B6F}" srcOrd="0" destOrd="0" presId="urn:microsoft.com/office/officeart/2005/8/layout/StepDownProcess"/>
    <dgm:cxn modelId="{9F899F63-B114-4FAE-9B81-9665280508E7}" srcId="{7042930A-5076-47E8-B743-5A41DF57E43D}" destId="{5300223E-C4EC-445B-83A6-9727ED7BB834}" srcOrd="0" destOrd="0" parTransId="{2D52F251-39D2-42D4-9E73-C8DFE8C6B847}" sibTransId="{63C9E3D0-109C-4360-B0D5-AD87E4EBD21A}"/>
    <dgm:cxn modelId="{1257C41A-ECD3-45C9-8DD1-0AF60D45D308}" srcId="{054E518E-E954-44AA-89B2-2EEC81C14145}" destId="{FAF2F701-6A7C-4933-B6B7-9CA9EDFDFD14}" srcOrd="0" destOrd="0" parTransId="{51BA28F4-9FA9-4D61-BBB0-2C809BA1AA2C}" sibTransId="{DC2D9DDF-52EE-48C5-BFE9-6C9F765599D1}"/>
    <dgm:cxn modelId="{95A8CB50-7D5F-49C9-A5F3-DE38C72398BB}" srcId="{57765E5D-49CE-4D3A-BEFC-5530E2AA6CDF}" destId="{41AAB6BA-9AB1-4017-AA9F-50559748EDDF}" srcOrd="4" destOrd="0" parTransId="{DFC6C2E4-0060-45E6-9BF5-A8BCC963ABC8}" sibTransId="{4C02B781-3499-4E52-ACB1-DE42F25AE6CB}"/>
    <dgm:cxn modelId="{5BB99AB6-C26A-4299-A1C1-2989B83FC003}" type="presOf" srcId="{7042930A-5076-47E8-B743-5A41DF57E43D}" destId="{E0C54748-3657-4405-8ADF-6D46EDB493C9}" srcOrd="0" destOrd="0" presId="urn:microsoft.com/office/officeart/2005/8/layout/StepDownProcess"/>
    <dgm:cxn modelId="{6748A397-A066-436D-A081-474576B1EA7D}" srcId="{57765E5D-49CE-4D3A-BEFC-5530E2AA6CDF}" destId="{7042930A-5076-47E8-B743-5A41DF57E43D}" srcOrd="2" destOrd="0" parTransId="{D11BD6CA-3D35-4DB6-BB8A-759D05FB1E0C}" sibTransId="{74F8F396-745D-43CD-92F6-C9A6151EF3F5}"/>
    <dgm:cxn modelId="{E529A82F-4B2B-4845-B73E-BEFB633D7E31}" type="presOf" srcId="{5E3A2829-52CD-425E-8884-520D174D0EA8}" destId="{591F8818-B6F2-42E9-9A4E-3C8BAF0A1486}" srcOrd="0" destOrd="0" presId="urn:microsoft.com/office/officeart/2005/8/layout/StepDownProcess"/>
    <dgm:cxn modelId="{D074A531-99EC-4137-9203-82478676DDC7}" type="presOf" srcId="{41AAB6BA-9AB1-4017-AA9F-50559748EDDF}" destId="{3BC44DD9-BEB6-45B5-BF5F-99A00B5BA31E}" srcOrd="0" destOrd="0" presId="urn:microsoft.com/office/officeart/2005/8/layout/StepDownProcess"/>
    <dgm:cxn modelId="{5F45B68F-633C-42AE-9AD4-7171711F4268}" type="presOf" srcId="{21307B35-FD8F-4460-8902-085E70383E6C}" destId="{7DC5A958-C728-4C29-93E9-446C1F21D55B}" srcOrd="0" destOrd="0" presId="urn:microsoft.com/office/officeart/2005/8/layout/StepDownProcess"/>
    <dgm:cxn modelId="{F4D3953A-944F-4574-B188-92F6D3330101}" srcId="{57765E5D-49CE-4D3A-BEFC-5530E2AA6CDF}" destId="{E1D1903C-903B-4515-9159-59376DD019A9}" srcOrd="0" destOrd="0" parTransId="{AA54DDA9-F79F-48D0-BD46-DA9C00239778}" sibTransId="{18C61C1A-B410-4458-9285-407052658137}"/>
    <dgm:cxn modelId="{08BCFE3F-C2E3-44D4-8B76-F017CF3CFBC9}" srcId="{57765E5D-49CE-4D3A-BEFC-5530E2AA6CDF}" destId="{054E518E-E954-44AA-89B2-2EEC81C14145}" srcOrd="1" destOrd="0" parTransId="{3633814F-C6B2-462E-8D55-276AC07BFC56}" sibTransId="{F46D2CC7-0534-48D9-9941-629D2877F62C}"/>
    <dgm:cxn modelId="{97C8838C-3766-4365-91BD-A853E35A9B99}" type="presOf" srcId="{054E518E-E954-44AA-89B2-2EEC81C14145}" destId="{8B1E1F8B-DBAC-4248-8325-FC2AABB5D1AF}" srcOrd="0" destOrd="0" presId="urn:microsoft.com/office/officeart/2005/8/layout/StepDownProcess"/>
    <dgm:cxn modelId="{88266E1A-0E5A-444D-A199-7092ACBFF100}" type="presOf" srcId="{3D900F2F-4812-4DEB-87CB-83DBD4070E2D}" destId="{EFC33901-A1C3-4EF6-9AD7-C5C0D41C0DEE}" srcOrd="0" destOrd="0" presId="urn:microsoft.com/office/officeart/2005/8/layout/StepDownProcess"/>
    <dgm:cxn modelId="{6E51B256-B62F-4380-9F70-9B978740D6AA}" type="presOf" srcId="{57765E5D-49CE-4D3A-BEFC-5530E2AA6CDF}" destId="{03D0B1FC-9972-471A-9566-8F3B88EC4424}" srcOrd="0" destOrd="0" presId="urn:microsoft.com/office/officeart/2005/8/layout/StepDownProcess"/>
    <dgm:cxn modelId="{461F8EC5-EA87-4722-9E8E-1510CC9BA5DD}" srcId="{F5E057B2-2F6B-4A06-9950-FC7958B03331}" destId="{21307B35-FD8F-4460-8902-085E70383E6C}" srcOrd="0" destOrd="0" parTransId="{41BCAE8C-2275-4153-94E8-8910697A39C6}" sibTransId="{FE49740A-3597-4B13-9F6A-174F51E3D8DC}"/>
    <dgm:cxn modelId="{CE83A4C8-A305-4642-8638-9AB758FEDB46}" type="presOf" srcId="{F5E057B2-2F6B-4A06-9950-FC7958B03331}" destId="{9BAF9133-0E4A-4D20-994D-56EAFB7D88B2}" srcOrd="0" destOrd="0" presId="urn:microsoft.com/office/officeart/2005/8/layout/StepDownProcess"/>
    <dgm:cxn modelId="{C389A459-B53D-4A20-854A-77F18D8AA8FC}" type="presOf" srcId="{E1D1903C-903B-4515-9159-59376DD019A9}" destId="{CB1635F9-E0CD-4F68-AE51-7C73F0DEE594}" srcOrd="0" destOrd="0" presId="urn:microsoft.com/office/officeart/2005/8/layout/StepDownProcess"/>
    <dgm:cxn modelId="{8199770A-761D-44C8-83B9-A1931F77D049}" srcId="{57765E5D-49CE-4D3A-BEFC-5530E2AA6CDF}" destId="{F5E057B2-2F6B-4A06-9950-FC7958B03331}" srcOrd="3" destOrd="0" parTransId="{E53124B9-836F-48ED-A403-27893A3BCD78}" sibTransId="{66436BDC-D8D1-4644-8709-35FDFF7E890E}"/>
    <dgm:cxn modelId="{8E4A4C82-BC75-476F-8ADA-D330ACE6D20C}" srcId="{41AAB6BA-9AB1-4017-AA9F-50559748EDDF}" destId="{5E3A2829-52CD-425E-8884-520D174D0EA8}" srcOrd="0" destOrd="0" parTransId="{A9F14021-29EA-426A-9AB8-D2CEB110FC09}" sibTransId="{7AFCB409-0CA6-44DF-93D7-AD535BD687CC}"/>
    <dgm:cxn modelId="{CF6E8798-16E4-4110-AE80-57886B0DD75C}" srcId="{E1D1903C-903B-4515-9159-59376DD019A9}" destId="{3D900F2F-4812-4DEB-87CB-83DBD4070E2D}" srcOrd="0" destOrd="0" parTransId="{0B870D08-87B0-456F-BB99-1CAB149A89DC}" sibTransId="{D7245463-0292-4D74-866C-B4F92EF066E7}"/>
    <dgm:cxn modelId="{B34B6179-2A26-4C7D-B0ED-BBEEA79CA69C}" type="presOf" srcId="{5300223E-C4EC-445B-83A6-9727ED7BB834}" destId="{0B29005E-60DD-4CC1-B0E4-987CDBE09391}" srcOrd="0" destOrd="0" presId="urn:microsoft.com/office/officeart/2005/8/layout/StepDownProcess"/>
    <dgm:cxn modelId="{4ED357FA-A5C4-4206-BE61-CD805F9326C6}" type="presParOf" srcId="{03D0B1FC-9972-471A-9566-8F3B88EC4424}" destId="{C5D677A9-F65B-43BA-BB8C-7BBECCE11D7C}" srcOrd="0" destOrd="0" presId="urn:microsoft.com/office/officeart/2005/8/layout/StepDownProcess"/>
    <dgm:cxn modelId="{1A2E9CBF-54EA-4F25-836F-A771957D5A2E}" type="presParOf" srcId="{C5D677A9-F65B-43BA-BB8C-7BBECCE11D7C}" destId="{4A808204-1DE1-4F1C-AA16-EE07367270AD}" srcOrd="0" destOrd="0" presId="urn:microsoft.com/office/officeart/2005/8/layout/StepDownProcess"/>
    <dgm:cxn modelId="{DF4A0087-994C-464C-8398-F90BAE6A0993}" type="presParOf" srcId="{C5D677A9-F65B-43BA-BB8C-7BBECCE11D7C}" destId="{CB1635F9-E0CD-4F68-AE51-7C73F0DEE594}" srcOrd="1" destOrd="0" presId="urn:microsoft.com/office/officeart/2005/8/layout/StepDownProcess"/>
    <dgm:cxn modelId="{69865246-AA67-4DCC-B2A4-694BCEC48833}" type="presParOf" srcId="{C5D677A9-F65B-43BA-BB8C-7BBECCE11D7C}" destId="{EFC33901-A1C3-4EF6-9AD7-C5C0D41C0DEE}" srcOrd="2" destOrd="0" presId="urn:microsoft.com/office/officeart/2005/8/layout/StepDownProcess"/>
    <dgm:cxn modelId="{DD44E820-AD90-464C-9D90-C8C3C3CC0096}" type="presParOf" srcId="{03D0B1FC-9972-471A-9566-8F3B88EC4424}" destId="{A3787AC3-0F60-4388-8469-6FFDA4174E96}" srcOrd="1" destOrd="0" presId="urn:microsoft.com/office/officeart/2005/8/layout/StepDownProcess"/>
    <dgm:cxn modelId="{8C5BFD05-C4C7-4C31-8027-3B9F14599498}" type="presParOf" srcId="{03D0B1FC-9972-471A-9566-8F3B88EC4424}" destId="{EA7107C1-7B82-4636-87C8-0A5FFF75BEFC}" srcOrd="2" destOrd="0" presId="urn:microsoft.com/office/officeart/2005/8/layout/StepDownProcess"/>
    <dgm:cxn modelId="{20F72B3C-B07A-4BF0-9A50-CB59FAAD90CA}" type="presParOf" srcId="{EA7107C1-7B82-4636-87C8-0A5FFF75BEFC}" destId="{2F0E6C08-B163-4CEA-8F9A-7C1DD4210F37}" srcOrd="0" destOrd="0" presId="urn:microsoft.com/office/officeart/2005/8/layout/StepDownProcess"/>
    <dgm:cxn modelId="{68EE9954-D6D3-480A-B2B1-71970214BBE3}" type="presParOf" srcId="{EA7107C1-7B82-4636-87C8-0A5FFF75BEFC}" destId="{8B1E1F8B-DBAC-4248-8325-FC2AABB5D1AF}" srcOrd="1" destOrd="0" presId="urn:microsoft.com/office/officeart/2005/8/layout/StepDownProcess"/>
    <dgm:cxn modelId="{64D64F6C-9CFE-42B0-AAEC-4C156D9EB1D8}" type="presParOf" srcId="{EA7107C1-7B82-4636-87C8-0A5FFF75BEFC}" destId="{281F6E99-00DB-43BC-A627-40F807012B6F}" srcOrd="2" destOrd="0" presId="urn:microsoft.com/office/officeart/2005/8/layout/StepDownProcess"/>
    <dgm:cxn modelId="{14D1EC7A-95AD-4219-92B2-778025A38D62}" type="presParOf" srcId="{03D0B1FC-9972-471A-9566-8F3B88EC4424}" destId="{BD6C0A33-F001-4E54-BC42-B7AE152E1B91}" srcOrd="3" destOrd="0" presId="urn:microsoft.com/office/officeart/2005/8/layout/StepDownProcess"/>
    <dgm:cxn modelId="{76FACC0C-8198-445E-A5CB-EEF8B8CBDC43}" type="presParOf" srcId="{03D0B1FC-9972-471A-9566-8F3B88EC4424}" destId="{98DB9FC9-F2CA-4E1F-85CA-D8E9F7EBFACA}" srcOrd="4" destOrd="0" presId="urn:microsoft.com/office/officeart/2005/8/layout/StepDownProcess"/>
    <dgm:cxn modelId="{97FBFED4-5083-4D42-B48D-B92A4707C78F}" type="presParOf" srcId="{98DB9FC9-F2CA-4E1F-85CA-D8E9F7EBFACA}" destId="{21C00A2A-4FA3-4599-960B-891852FCBC38}" srcOrd="0" destOrd="0" presId="urn:microsoft.com/office/officeart/2005/8/layout/StepDownProcess"/>
    <dgm:cxn modelId="{984AE888-F53C-4C11-8507-4F9C06D3AE8D}" type="presParOf" srcId="{98DB9FC9-F2CA-4E1F-85CA-D8E9F7EBFACA}" destId="{E0C54748-3657-4405-8ADF-6D46EDB493C9}" srcOrd="1" destOrd="0" presId="urn:microsoft.com/office/officeart/2005/8/layout/StepDownProcess"/>
    <dgm:cxn modelId="{102B0111-D2C8-495A-A947-9C61A9F70190}" type="presParOf" srcId="{98DB9FC9-F2CA-4E1F-85CA-D8E9F7EBFACA}" destId="{0B29005E-60DD-4CC1-B0E4-987CDBE09391}" srcOrd="2" destOrd="0" presId="urn:microsoft.com/office/officeart/2005/8/layout/StepDownProcess"/>
    <dgm:cxn modelId="{E3FE280F-0810-47D3-A8A9-CB9D5B117210}" type="presParOf" srcId="{03D0B1FC-9972-471A-9566-8F3B88EC4424}" destId="{62CE3E4F-A98F-4005-9509-806A0F6CB070}" srcOrd="5" destOrd="0" presId="urn:microsoft.com/office/officeart/2005/8/layout/StepDownProcess"/>
    <dgm:cxn modelId="{83CC5942-A9B3-4D9E-9B56-551C6076D4C3}" type="presParOf" srcId="{03D0B1FC-9972-471A-9566-8F3B88EC4424}" destId="{AFC19745-7D29-4919-8BD9-392AEAC48E30}" srcOrd="6" destOrd="0" presId="urn:microsoft.com/office/officeart/2005/8/layout/StepDownProcess"/>
    <dgm:cxn modelId="{F5907982-4A42-4C8A-A823-738C606C72DB}" type="presParOf" srcId="{AFC19745-7D29-4919-8BD9-392AEAC48E30}" destId="{B9D11210-5EFF-4F6A-AF3E-C60E77AAA22E}" srcOrd="0" destOrd="0" presId="urn:microsoft.com/office/officeart/2005/8/layout/StepDownProcess"/>
    <dgm:cxn modelId="{09F219BD-916F-441F-B7D0-3D1B23D26FFD}" type="presParOf" srcId="{AFC19745-7D29-4919-8BD9-392AEAC48E30}" destId="{9BAF9133-0E4A-4D20-994D-56EAFB7D88B2}" srcOrd="1" destOrd="0" presId="urn:microsoft.com/office/officeart/2005/8/layout/StepDownProcess"/>
    <dgm:cxn modelId="{D565F6B7-29C6-4BC4-B23F-FF34471F8B77}" type="presParOf" srcId="{AFC19745-7D29-4919-8BD9-392AEAC48E30}" destId="{7DC5A958-C728-4C29-93E9-446C1F21D55B}" srcOrd="2" destOrd="0" presId="urn:microsoft.com/office/officeart/2005/8/layout/StepDownProcess"/>
    <dgm:cxn modelId="{FC6FB0C9-9812-499F-B795-8987E2A48C17}" type="presParOf" srcId="{03D0B1FC-9972-471A-9566-8F3B88EC4424}" destId="{5255FA48-69B3-4B41-A998-D14BCE7CC204}" srcOrd="7" destOrd="0" presId="urn:microsoft.com/office/officeart/2005/8/layout/StepDownProcess"/>
    <dgm:cxn modelId="{CDB24F0A-2BC5-4573-98A3-E6F4A401E5CC}" type="presParOf" srcId="{03D0B1FC-9972-471A-9566-8F3B88EC4424}" destId="{C0C61296-F304-4C6F-89D2-CAB0B915FD35}" srcOrd="8" destOrd="0" presId="urn:microsoft.com/office/officeart/2005/8/layout/StepDownProcess"/>
    <dgm:cxn modelId="{FB1D1B80-227C-40B9-83B6-7657DB211AD2}" type="presParOf" srcId="{C0C61296-F304-4C6F-89D2-CAB0B915FD35}" destId="{3BC44DD9-BEB6-45B5-BF5F-99A00B5BA31E}" srcOrd="0" destOrd="0" presId="urn:microsoft.com/office/officeart/2005/8/layout/StepDownProcess"/>
    <dgm:cxn modelId="{6A60AA2F-EB51-4A82-8CC4-5389A747C84A}" type="presParOf" srcId="{C0C61296-F304-4C6F-89D2-CAB0B915FD35}" destId="{591F8818-B6F2-42E9-9A4E-3C8BAF0A148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82697F-1E14-4E75-86B4-E5E9C26D88CE}">
      <dsp:nvSpPr>
        <dsp:cNvPr id="0" name=""/>
        <dsp:cNvSpPr/>
      </dsp:nvSpPr>
      <dsp:spPr>
        <a:xfrm>
          <a:off x="-66983" y="0"/>
          <a:ext cx="7173422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S</a:t>
          </a:r>
          <a:r>
            <a:rPr lang="en-US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pending review</a:t>
          </a: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measures</a:t>
          </a: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are </a:t>
          </a:r>
          <a:r>
            <a:rPr lang="en-US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part of the</a:t>
          </a: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             </a:t>
          </a:r>
          <a:r>
            <a:rPr lang="sk-SK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1) </a:t>
          </a:r>
          <a:r>
            <a:rPr lang="en-US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budget negotiation</a:t>
          </a:r>
          <a:r>
            <a:rPr lang="sk-SK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technical and political</a:t>
          </a: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  <a:endParaRPr lang="sk-SK" sz="2000" b="0" kern="120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sp:txBody>
      <dsp:txXfrm>
        <a:off x="-44205" y="22778"/>
        <a:ext cx="6208924" cy="732130"/>
      </dsp:txXfrm>
    </dsp:sp>
    <dsp:sp modelId="{652BC508-A1A6-423E-B7CF-C060736643A1}">
      <dsp:nvSpPr>
        <dsp:cNvPr id="0" name=""/>
        <dsp:cNvSpPr/>
      </dsp:nvSpPr>
      <dsp:spPr>
        <a:xfrm>
          <a:off x="448686" y="885698"/>
          <a:ext cx="7173422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Spending review reports are part of </a:t>
          </a:r>
          <a:r>
            <a:rPr lang="en-US" sz="2000" b="1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2) budgetary documentation</a:t>
          </a: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, approved by the government</a:t>
          </a:r>
          <a:endParaRPr lang="en-US" sz="2000" b="0" kern="120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sp:txBody>
      <dsp:txXfrm>
        <a:off x="471464" y="908476"/>
        <a:ext cx="6067079" cy="732130"/>
      </dsp:txXfrm>
    </dsp:sp>
    <dsp:sp modelId="{C9AE6F0E-BDD2-4A43-8F78-1E9B12506371}">
      <dsp:nvSpPr>
        <dsp:cNvPr id="0" name=""/>
        <dsp:cNvSpPr/>
      </dsp:nvSpPr>
      <dsp:spPr>
        <a:xfrm>
          <a:off x="807877" y="1771396"/>
          <a:ext cx="7486379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Some</a:t>
          </a:r>
          <a:r>
            <a:rPr lang="sk-SK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 </a:t>
          </a: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measures</a:t>
          </a:r>
          <a:r>
            <a:rPr lang="en-US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are incorporated into</a:t>
          </a:r>
          <a:r>
            <a:rPr lang="en-US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3) </a:t>
          </a:r>
          <a:r>
            <a:rPr lang="en-US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the state budget</a:t>
          </a:r>
          <a:r>
            <a:rPr lang="en-US" sz="20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16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en-US" sz="16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health and environment are the poster-child</a:t>
          </a:r>
          <a:r>
            <a:rPr lang="sk-SK" sz="1600" b="0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  <a:endParaRPr lang="sk-SK" sz="1600" b="0" kern="120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sp:txBody>
      <dsp:txXfrm>
        <a:off x="830655" y="1794174"/>
        <a:ext cx="6333756" cy="732130"/>
      </dsp:txXfrm>
    </dsp:sp>
    <dsp:sp modelId="{5295DBFB-B07B-4E17-9B97-2FD8134F0D1E}">
      <dsp:nvSpPr>
        <dsp:cNvPr id="0" name=""/>
        <dsp:cNvSpPr/>
      </dsp:nvSpPr>
      <dsp:spPr>
        <a:xfrm>
          <a:off x="1323547" y="2657095"/>
          <a:ext cx="7486379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4) </a:t>
          </a:r>
          <a:r>
            <a:rPr lang="en-US" sz="2000" b="1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Outcome indicators </a:t>
          </a: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for each sector </a:t>
          </a:r>
          <a:r>
            <a:rPr lang="en-US" sz="160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e.g. amendable mortality in health, PISA in education etc.)</a:t>
          </a:r>
          <a:endParaRPr lang="en-US" sz="1600" kern="120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sp:txBody>
      <dsp:txXfrm>
        <a:off x="1346325" y="2679873"/>
        <a:ext cx="6333756" cy="732130"/>
      </dsp:txXfrm>
    </dsp:sp>
    <dsp:sp modelId="{D2FD44D7-1F5E-402B-9CA9-8490391E01E3}">
      <dsp:nvSpPr>
        <dsp:cNvPr id="0" name=""/>
        <dsp:cNvSpPr/>
      </dsp:nvSpPr>
      <dsp:spPr>
        <a:xfrm>
          <a:off x="2129661" y="3542793"/>
          <a:ext cx="6905489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5) </a:t>
          </a:r>
          <a:r>
            <a:rPr lang="en-US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Implementation</a:t>
          </a:r>
          <a:r>
            <a:rPr lang="sk-SK" sz="2000" b="1" kern="120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en-US" sz="2000" b="1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Report </a:t>
          </a:r>
          <a:r>
            <a:rPr lang="en-US" sz="2000" b="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is part of budgetary documentation</a:t>
          </a:r>
          <a:r>
            <a:rPr lang="en-US" sz="2000" b="1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en-US" sz="1600" kern="1200" noProof="0" dirty="0" smtClean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overseen by Implementation Unit)</a:t>
          </a:r>
          <a:endParaRPr lang="en-US" sz="1600" kern="120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sp:txBody>
      <dsp:txXfrm>
        <a:off x="2152439" y="3565571"/>
        <a:ext cx="5838767" cy="732130"/>
      </dsp:txXfrm>
    </dsp:sp>
    <dsp:sp modelId="{EF4F216D-5471-4475-9865-2FDD80065506}">
      <dsp:nvSpPr>
        <dsp:cNvPr id="0" name=""/>
        <dsp:cNvSpPr/>
      </dsp:nvSpPr>
      <dsp:spPr>
        <a:xfrm>
          <a:off x="6466976" y="568143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k-SK" sz="2200" kern="1200"/>
        </a:p>
      </dsp:txBody>
      <dsp:txXfrm>
        <a:off x="6580713" y="568143"/>
        <a:ext cx="278022" cy="380386"/>
      </dsp:txXfrm>
    </dsp:sp>
    <dsp:sp modelId="{EF95ED7D-B56D-44AD-8222-9B764D065FFA}">
      <dsp:nvSpPr>
        <dsp:cNvPr id="0" name=""/>
        <dsp:cNvSpPr/>
      </dsp:nvSpPr>
      <dsp:spPr>
        <a:xfrm>
          <a:off x="6982646" y="1453841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k-SK" sz="2200" kern="1200"/>
        </a:p>
      </dsp:txBody>
      <dsp:txXfrm>
        <a:off x="7096383" y="1453841"/>
        <a:ext cx="278022" cy="380386"/>
      </dsp:txXfrm>
    </dsp:sp>
    <dsp:sp modelId="{414D7B89-622B-4CFF-B59D-6A7005AD4536}">
      <dsp:nvSpPr>
        <dsp:cNvPr id="0" name=""/>
        <dsp:cNvSpPr/>
      </dsp:nvSpPr>
      <dsp:spPr>
        <a:xfrm>
          <a:off x="7498315" y="2326578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k-SK" sz="2200" kern="1200"/>
        </a:p>
      </dsp:txBody>
      <dsp:txXfrm>
        <a:off x="7612052" y="2326578"/>
        <a:ext cx="278022" cy="380386"/>
      </dsp:txXfrm>
    </dsp:sp>
    <dsp:sp modelId="{A5356974-2C22-42DF-B1A0-E4DC272A4298}">
      <dsp:nvSpPr>
        <dsp:cNvPr id="0" name=""/>
        <dsp:cNvSpPr/>
      </dsp:nvSpPr>
      <dsp:spPr>
        <a:xfrm>
          <a:off x="8013985" y="3220917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k-SK" sz="2200" kern="1200"/>
        </a:p>
      </dsp:txBody>
      <dsp:txXfrm>
        <a:off x="8127722" y="3220917"/>
        <a:ext cx="278022" cy="3803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808204-1DE1-4F1C-AA16-EE07367270AD}">
      <dsp:nvSpPr>
        <dsp:cNvPr id="0" name=""/>
        <dsp:cNvSpPr/>
      </dsp:nvSpPr>
      <dsp:spPr>
        <a:xfrm rot="5400000">
          <a:off x="503314" y="1102330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1635F9-E0CD-4F68-AE51-7C73F0DEE594}">
      <dsp:nvSpPr>
        <dsp:cNvPr id="0" name=""/>
        <dsp:cNvSpPr/>
      </dsp:nvSpPr>
      <dsp:spPr>
        <a:xfrm>
          <a:off x="5638" y="235209"/>
          <a:ext cx="1326640" cy="880016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noProof="0" dirty="0" smtClean="0">
              <a:latin typeface="Arial Narrow" panose="020B0606020202030204" pitchFamily="34" charset="0"/>
            </a:rPr>
            <a:t>Structural Policy Challenges </a:t>
          </a:r>
          <a:r>
            <a:rPr lang="sk-SK" sz="1200" b="1" kern="1200" noProof="0" dirty="0" smtClean="0">
              <a:latin typeface="Arial Narrow" panose="020B0606020202030204" pitchFamily="34" charset="0"/>
            </a:rPr>
            <a:t/>
          </a:r>
          <a:br>
            <a:rPr lang="sk-SK" sz="1200" b="1" kern="1200" noProof="0" dirty="0" smtClean="0">
              <a:latin typeface="Arial Narrow" panose="020B0606020202030204" pitchFamily="34" charset="0"/>
            </a:rPr>
          </a:br>
          <a:r>
            <a:rPr lang="sk-SK" sz="1200" b="1" kern="1200" dirty="0" smtClean="0">
              <a:latin typeface="Arial Narrow" panose="020B0606020202030204" pitchFamily="34" charset="0"/>
            </a:rPr>
            <a:t>in </a:t>
          </a:r>
          <a:r>
            <a:rPr lang="sk-SK" sz="1200" b="1" kern="1200" dirty="0">
              <a:latin typeface="Arial Narrow" panose="020B0606020202030204" pitchFamily="34" charset="0"/>
            </a:rPr>
            <a:t>Slovakia </a:t>
          </a:r>
          <a:br>
            <a:rPr lang="sk-SK" sz="1200" b="1" kern="1200" dirty="0">
              <a:latin typeface="Arial Narrow" panose="020B0606020202030204" pitchFamily="34" charset="0"/>
            </a:rPr>
          </a:br>
          <a:r>
            <a:rPr lang="sk-SK" sz="1200" b="1" kern="1200" dirty="0">
              <a:latin typeface="Arial Narrow" panose="020B0606020202030204" pitchFamily="34" charset="0"/>
            </a:rPr>
            <a:t>(NBS, 2010)</a:t>
          </a:r>
        </a:p>
      </dsp:txBody>
      <dsp:txXfrm>
        <a:off x="48605" y="278176"/>
        <a:ext cx="1240706" cy="794082"/>
      </dsp:txXfrm>
    </dsp:sp>
    <dsp:sp modelId="{EFC33901-A1C3-4EF6-9AD7-C5C0D41C0DEE}">
      <dsp:nvSpPr>
        <dsp:cNvPr id="0" name=""/>
        <dsp:cNvSpPr/>
      </dsp:nvSpPr>
      <dsp:spPr>
        <a:xfrm>
          <a:off x="1440011" y="426288"/>
          <a:ext cx="3045683" cy="4752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b="1" kern="1200" noProof="0" dirty="0" smtClean="0">
              <a:latin typeface="Arial Narrow" panose="020B0606020202030204" pitchFamily="34" charset="0"/>
            </a:rPr>
            <a:t>discussion paper about approaches to quality</a:t>
          </a:r>
          <a:r>
            <a:rPr lang="sk-SK" sz="1500" b="1" kern="1200" noProof="0" dirty="0" smtClean="0">
              <a:latin typeface="Arial Narrow" panose="020B0606020202030204" pitchFamily="34" charset="0"/>
            </a:rPr>
            <a:t> </a:t>
          </a:r>
          <a:r>
            <a:rPr lang="en-US" sz="1500" b="1" kern="1200" noProof="0" dirty="0" smtClean="0">
              <a:latin typeface="Arial Narrow" panose="020B0606020202030204" pitchFamily="34" charset="0"/>
            </a:rPr>
            <a:t>of life measurement</a:t>
          </a:r>
          <a:endParaRPr lang="sk-SK" sz="1500" b="1" kern="1200" dirty="0">
            <a:latin typeface="Arial Narrow" panose="020B0606020202030204" pitchFamily="34" charset="0"/>
          </a:endParaRPr>
        </a:p>
      </dsp:txBody>
      <dsp:txXfrm>
        <a:off x="1440011" y="426288"/>
        <a:ext cx="3045683" cy="475281"/>
      </dsp:txXfrm>
    </dsp:sp>
    <dsp:sp modelId="{2F0E6C08-B163-4CEA-8F9A-7C1DD4210F37}">
      <dsp:nvSpPr>
        <dsp:cNvPr id="0" name=""/>
        <dsp:cNvSpPr/>
      </dsp:nvSpPr>
      <dsp:spPr>
        <a:xfrm rot="5400000">
          <a:off x="1737614" y="1890742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1E1F8B-DBAC-4248-8325-FC2AABB5D1AF}">
      <dsp:nvSpPr>
        <dsp:cNvPr id="0" name=""/>
        <dsp:cNvSpPr/>
      </dsp:nvSpPr>
      <dsp:spPr>
        <a:xfrm>
          <a:off x="1384832" y="1073973"/>
          <a:ext cx="1144345" cy="801005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noProof="0" dirty="0" smtClean="0">
              <a:latin typeface="Arial Narrow" panose="020B0606020202030204" pitchFamily="34" charset="0"/>
            </a:rPr>
            <a:t>National Reform program (2010, yearly)</a:t>
          </a:r>
          <a:endParaRPr lang="en-US" sz="1200" b="1" kern="1200" noProof="0" dirty="0">
            <a:latin typeface="Arial Narrow" panose="020B0606020202030204" pitchFamily="34" charset="0"/>
          </a:endParaRPr>
        </a:p>
      </dsp:txBody>
      <dsp:txXfrm>
        <a:off x="1423941" y="1113082"/>
        <a:ext cx="1066127" cy="722787"/>
      </dsp:txXfrm>
    </dsp:sp>
    <dsp:sp modelId="{281F6E99-00DB-43BC-A627-40F807012B6F}">
      <dsp:nvSpPr>
        <dsp:cNvPr id="0" name=""/>
        <dsp:cNvSpPr/>
      </dsp:nvSpPr>
      <dsp:spPr>
        <a:xfrm>
          <a:off x="2610597" y="1144629"/>
          <a:ext cx="3916432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b="1" kern="1200" noProof="0" dirty="0" smtClean="0">
              <a:latin typeface="Arial Narrow" panose="020B0606020202030204" pitchFamily="34" charset="0"/>
            </a:rPr>
            <a:t>government priorities based on previous study </a:t>
          </a:r>
          <a:r>
            <a:rPr lang="sk-SK" sz="1500" b="1" kern="1200" dirty="0" smtClean="0">
              <a:latin typeface="Arial Narrow" panose="020B0606020202030204" pitchFamily="34" charset="0"/>
            </a:rPr>
            <a:t>(</a:t>
          </a:r>
          <a:r>
            <a:rPr lang="sk-SK" sz="1500" b="1" kern="1200" dirty="0">
              <a:latin typeface="Arial Narrow" panose="020B0606020202030204" pitchFamily="34" charset="0"/>
            </a:rPr>
            <a:t>NBS, 2010)</a:t>
          </a:r>
        </a:p>
      </dsp:txBody>
      <dsp:txXfrm>
        <a:off x="2610597" y="1144629"/>
        <a:ext cx="3916432" cy="647407"/>
      </dsp:txXfrm>
    </dsp:sp>
    <dsp:sp modelId="{21C00A2A-4FA3-4599-960B-891852FCBC38}">
      <dsp:nvSpPr>
        <dsp:cNvPr id="0" name=""/>
        <dsp:cNvSpPr/>
      </dsp:nvSpPr>
      <dsp:spPr>
        <a:xfrm rot="5400000">
          <a:off x="3014673" y="2827848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C54748-3657-4405-8ADF-6D46EDB493C9}">
      <dsp:nvSpPr>
        <dsp:cNvPr id="0" name=""/>
        <dsp:cNvSpPr/>
      </dsp:nvSpPr>
      <dsp:spPr>
        <a:xfrm>
          <a:off x="2534040" y="1983226"/>
          <a:ext cx="1144345" cy="801005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noProof="0" dirty="0" smtClean="0">
              <a:latin typeface="Arial Narrow" panose="020B0606020202030204" pitchFamily="34" charset="0"/>
            </a:rPr>
            <a:t>How to measure progress</a:t>
          </a:r>
          <a:endParaRPr lang="sk-SK" sz="1200" b="1" kern="1200" noProof="0" dirty="0" smtClean="0">
            <a:latin typeface="Arial Narrow" panose="020B0606020202030204" pitchFamily="34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dirty="0" smtClean="0">
              <a:latin typeface="Arial Narrow" panose="020B0606020202030204" pitchFamily="34" charset="0"/>
            </a:rPr>
            <a:t>(IFP</a:t>
          </a:r>
          <a:r>
            <a:rPr lang="sk-SK" sz="1200" b="1" kern="1200" dirty="0">
              <a:latin typeface="Arial Narrow" panose="020B0606020202030204" pitchFamily="34" charset="0"/>
            </a:rPr>
            <a:t>, 2013)</a:t>
          </a:r>
        </a:p>
      </dsp:txBody>
      <dsp:txXfrm>
        <a:off x="2573149" y="2022335"/>
        <a:ext cx="1066127" cy="722787"/>
      </dsp:txXfrm>
    </dsp:sp>
    <dsp:sp modelId="{0B29005E-60DD-4CC1-B0E4-987CDBE09391}">
      <dsp:nvSpPr>
        <dsp:cNvPr id="0" name=""/>
        <dsp:cNvSpPr/>
      </dsp:nvSpPr>
      <dsp:spPr>
        <a:xfrm>
          <a:off x="3831939" y="2077311"/>
          <a:ext cx="2454293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b="1" kern="1200" noProof="0" dirty="0" smtClean="0">
              <a:latin typeface="Arial Narrow" panose="020B0606020202030204" pitchFamily="34" charset="0"/>
            </a:rPr>
            <a:t>proposal of outcome indicators for line</a:t>
          </a:r>
          <a:r>
            <a:rPr lang="sk-SK" sz="1500" b="1" kern="1200" noProof="0" dirty="0" smtClean="0">
              <a:latin typeface="Arial Narrow" panose="020B0606020202030204" pitchFamily="34" charset="0"/>
            </a:rPr>
            <a:t> </a:t>
          </a:r>
          <a:r>
            <a:rPr lang="en-US" sz="1500" b="1" kern="1200" noProof="0" dirty="0" smtClean="0">
              <a:latin typeface="Arial Narrow" panose="020B0606020202030204" pitchFamily="34" charset="0"/>
            </a:rPr>
            <a:t>ministries</a:t>
          </a:r>
          <a:endParaRPr lang="en-US" sz="1500" b="1" kern="1200" noProof="0" dirty="0">
            <a:latin typeface="Arial Narrow" panose="020B0606020202030204" pitchFamily="34" charset="0"/>
          </a:endParaRPr>
        </a:p>
      </dsp:txBody>
      <dsp:txXfrm>
        <a:off x="3831939" y="2077311"/>
        <a:ext cx="2454293" cy="647407"/>
      </dsp:txXfrm>
    </dsp:sp>
    <dsp:sp modelId="{B9D11210-5EFF-4F6A-AF3E-C60E77AAA22E}">
      <dsp:nvSpPr>
        <dsp:cNvPr id="0" name=""/>
        <dsp:cNvSpPr/>
      </dsp:nvSpPr>
      <dsp:spPr>
        <a:xfrm rot="5400000">
          <a:off x="4487438" y="3751426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AF9133-0E4A-4D20-994D-56EAFB7D88B2}">
      <dsp:nvSpPr>
        <dsp:cNvPr id="0" name=""/>
        <dsp:cNvSpPr/>
      </dsp:nvSpPr>
      <dsp:spPr>
        <a:xfrm>
          <a:off x="3921007" y="2944728"/>
          <a:ext cx="1144345" cy="801005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noProof="0" dirty="0" smtClean="0">
              <a:latin typeface="Arial Narrow" panose="020B0606020202030204" pitchFamily="34" charset="0"/>
            </a:rPr>
            <a:t>Budget structure for Education</a:t>
          </a:r>
          <a:endParaRPr lang="sk-SK" sz="1200" b="1" kern="1200" noProof="0" dirty="0" smtClean="0">
            <a:latin typeface="Arial Narrow" panose="020B0606020202030204" pitchFamily="34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noProof="0" dirty="0" smtClean="0">
              <a:latin typeface="Arial Narrow" panose="020B0606020202030204" pitchFamily="34" charset="0"/>
            </a:rPr>
            <a:t>(IFP, 2014)</a:t>
          </a:r>
          <a:endParaRPr lang="en-US" sz="1200" b="1" kern="1200" noProof="0" dirty="0">
            <a:latin typeface="Arial Narrow" panose="020B0606020202030204" pitchFamily="34" charset="0"/>
          </a:endParaRPr>
        </a:p>
      </dsp:txBody>
      <dsp:txXfrm>
        <a:off x="3960116" y="2983837"/>
        <a:ext cx="1066127" cy="722787"/>
      </dsp:txXfrm>
    </dsp:sp>
    <dsp:sp modelId="{7DC5A958-C728-4C29-93E9-446C1F21D55B}">
      <dsp:nvSpPr>
        <dsp:cNvPr id="0" name=""/>
        <dsp:cNvSpPr/>
      </dsp:nvSpPr>
      <dsp:spPr>
        <a:xfrm>
          <a:off x="5213980" y="3070512"/>
          <a:ext cx="2827882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b="1" kern="1200" noProof="0" dirty="0" smtClean="0">
              <a:latin typeface="Arial Narrow" panose="020B0606020202030204" pitchFamily="34" charset="0"/>
            </a:rPr>
            <a:t>Proposal of budget structure for Ministry</a:t>
          </a:r>
          <a:r>
            <a:rPr lang="sk-SK" sz="1500" b="1" kern="1200" noProof="0" dirty="0" smtClean="0">
              <a:latin typeface="Arial Narrow" panose="020B0606020202030204" pitchFamily="34" charset="0"/>
            </a:rPr>
            <a:t> </a:t>
          </a:r>
          <a:r>
            <a:rPr lang="en-US" sz="1500" b="1" kern="1200" noProof="0" dirty="0" smtClean="0">
              <a:latin typeface="Arial Narrow" panose="020B0606020202030204" pitchFamily="34" charset="0"/>
            </a:rPr>
            <a:t>of Education</a:t>
          </a:r>
          <a:endParaRPr lang="en-US" sz="1500" b="1" kern="1200" noProof="0" dirty="0">
            <a:latin typeface="Arial Narrow" panose="020B0606020202030204" pitchFamily="34" charset="0"/>
          </a:endParaRPr>
        </a:p>
      </dsp:txBody>
      <dsp:txXfrm>
        <a:off x="5213980" y="3070512"/>
        <a:ext cx="2827882" cy="647407"/>
      </dsp:txXfrm>
    </dsp:sp>
    <dsp:sp modelId="{3BC44DD9-BEB6-45B5-BF5F-99A00B5BA31E}">
      <dsp:nvSpPr>
        <dsp:cNvPr id="0" name=""/>
        <dsp:cNvSpPr/>
      </dsp:nvSpPr>
      <dsp:spPr>
        <a:xfrm>
          <a:off x="5319542" y="3773793"/>
          <a:ext cx="2124329" cy="1119180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 smtClean="0">
              <a:latin typeface="Arial Narrow" panose="020B0606020202030204" pitchFamily="34" charset="0"/>
            </a:rPr>
            <a:t>Spending reviews </a:t>
          </a:r>
          <a:endParaRPr lang="sk-SK" sz="2000" b="1" kern="1200" noProof="0" dirty="0" smtClean="0">
            <a:latin typeface="Arial Narrow" panose="020B0606020202030204" pitchFamily="34" charset="0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 smtClean="0">
              <a:latin typeface="Arial Narrow" panose="020B0606020202030204" pitchFamily="34" charset="0"/>
            </a:rPr>
            <a:t>(since 2016)</a:t>
          </a:r>
          <a:endParaRPr lang="en-US" sz="2000" b="1" kern="1200" noProof="0" dirty="0">
            <a:latin typeface="Arial Narrow" panose="020B0606020202030204" pitchFamily="34" charset="0"/>
          </a:endParaRPr>
        </a:p>
      </dsp:txBody>
      <dsp:txXfrm>
        <a:off x="5374186" y="3828437"/>
        <a:ext cx="2015041" cy="1009892"/>
      </dsp:txXfrm>
    </dsp:sp>
    <dsp:sp modelId="{591F8818-B6F2-42E9-9A4E-3C8BAF0A1486}">
      <dsp:nvSpPr>
        <dsp:cNvPr id="0" name=""/>
        <dsp:cNvSpPr/>
      </dsp:nvSpPr>
      <dsp:spPr>
        <a:xfrm>
          <a:off x="7382560" y="4029698"/>
          <a:ext cx="1547756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kern="1200" noProof="0" dirty="0" smtClean="0">
              <a:latin typeface="Arial Narrow" panose="020B0606020202030204" pitchFamily="34" charset="0"/>
            </a:rPr>
            <a:t>outcome indicators </a:t>
          </a:r>
          <a:r>
            <a:rPr lang="sk-SK" sz="1600" b="1" kern="1200" noProof="0" dirty="0" smtClean="0">
              <a:latin typeface="Arial Narrow" panose="020B0606020202030204" pitchFamily="34" charset="0"/>
            </a:rPr>
            <a:t/>
          </a:r>
          <a:br>
            <a:rPr lang="sk-SK" sz="1600" b="1" kern="1200" noProof="0" dirty="0" smtClean="0">
              <a:latin typeface="Arial Narrow" panose="020B0606020202030204" pitchFamily="34" charset="0"/>
            </a:rPr>
          </a:br>
          <a:r>
            <a:rPr lang="en-US" sz="1600" b="1" kern="1200" noProof="0" dirty="0" smtClean="0">
              <a:latin typeface="Arial Narrow" panose="020B0606020202030204" pitchFamily="34" charset="0"/>
            </a:rPr>
            <a:t>reflected in budget</a:t>
          </a:r>
          <a:endParaRPr lang="en-US" sz="1600" b="1" kern="1200" noProof="0" dirty="0">
            <a:latin typeface="Arial Narrow" panose="020B0606020202030204" pitchFamily="34" charset="0"/>
          </a:endParaRPr>
        </a:p>
      </dsp:txBody>
      <dsp:txXfrm>
        <a:off x="7382560" y="4029698"/>
        <a:ext cx="1547756" cy="6474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906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55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906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fld id="{C6643DC1-447D-4076-9AFC-AD59199A981F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022904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06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055" y="4415717"/>
            <a:ext cx="5610292" cy="4183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06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fld id="{AEE8F09E-3B77-4351-BACB-13AB0AFBD241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6284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E8F09E-3B77-4351-BACB-13AB0AFBD241}" type="slidenum">
              <a:rPr lang="sk-SK" smtClean="0"/>
              <a:pPr>
                <a:defRPr/>
              </a:pPr>
              <a:t>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88428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9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561983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E8F09E-3B77-4351-BACB-13AB0AFBD241}" type="slidenum">
              <a:rPr lang="sk-SK" smtClean="0"/>
              <a:pPr>
                <a:defRPr/>
              </a:pPr>
              <a:t>1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713179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37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dĺžnik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NeueHaasGroteskText W02" panose="020B0504020202020204" pitchFamily="34" charset="-18"/>
              <a:ea typeface="+mj-ea"/>
              <a:cs typeface="+mj-cs"/>
              <a:sym typeface="NeueHaasGroteskText W02" panose="020B0504020202020204" pitchFamily="34" charset="-18"/>
            </a:endParaRPr>
          </a:p>
        </p:txBody>
      </p:sp>
      <p:sp>
        <p:nvSpPr>
          <p:cNvPr id="113" name="Rectangle 4"/>
          <p:cNvSpPr>
            <a:spLocks/>
          </p:cNvSpPr>
          <p:nvPr userDrawn="1"/>
        </p:nvSpPr>
        <p:spPr bwMode="auto">
          <a:xfrm>
            <a:off x="539552" y="3080270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sk-SK" noProof="0" dirty="0"/>
          </a:p>
        </p:txBody>
      </p:sp>
      <p:sp>
        <p:nvSpPr>
          <p:cNvPr id="26522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-25632" y="2492896"/>
            <a:ext cx="9169631" cy="1470025"/>
          </a:xfrm>
        </p:spPr>
        <p:txBody>
          <a:bodyPr/>
          <a:lstStyle>
            <a:lvl1pPr algn="ctr">
              <a:defRPr b="1">
                <a:latin typeface="NeueHaasGroteskText W02" pitchFamily="34" charset="-18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-39724" y="4005064"/>
            <a:ext cx="9183723" cy="648072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1900">
                <a:latin typeface="NeueHaasGroteskText W02" pitchFamily="34" charset="-18"/>
              </a:defRPr>
            </a:lvl1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115" name="Rectangle 9"/>
          <p:cNvSpPr>
            <a:spLocks/>
          </p:cNvSpPr>
          <p:nvPr userDrawn="1"/>
        </p:nvSpPr>
        <p:spPr bwMode="auto">
          <a:xfrm>
            <a:off x="24821" y="9550"/>
            <a:ext cx="9119180" cy="18732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sz="4800" b="1" spc="40" normalizeH="0" noProof="0" dirty="0" smtClean="0">
              <a:solidFill>
                <a:schemeClr val="bg1"/>
              </a:solidFill>
              <a:latin typeface="NeueHaasGroteskDisp W02" panose="020B0504020202020204" pitchFamily="34" charset="-18"/>
            </a:endParaRPr>
          </a:p>
        </p:txBody>
      </p:sp>
      <p:sp>
        <p:nvSpPr>
          <p:cNvPr id="116" name="BlokTextu 115"/>
          <p:cNvSpPr txBox="1"/>
          <p:nvPr userDrawn="1"/>
        </p:nvSpPr>
        <p:spPr>
          <a:xfrm>
            <a:off x="755576" y="357295"/>
            <a:ext cx="7488832" cy="1031051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/>
            <a:r>
              <a:rPr lang="en-US" sz="3200" b="1" noProof="0" dirty="0" smtClean="0">
                <a:latin typeface="NeueHaasGroteskDisp W02" panose="020B0504020202020204" pitchFamily="34" charset="-18"/>
              </a:rPr>
              <a:t>  </a:t>
            </a:r>
            <a:r>
              <a:rPr lang="en-US" sz="3200" b="0" noProof="0" dirty="0" smtClean="0">
                <a:latin typeface="Arial Narrow" panose="020B0606020202030204" pitchFamily="34" charset="0"/>
              </a:rPr>
              <a:t>Value for</a:t>
            </a:r>
            <a:r>
              <a:rPr lang="en-US" sz="3200" b="0" baseline="0" noProof="0" dirty="0" smtClean="0">
                <a:latin typeface="Arial Narrow" panose="020B0606020202030204" pitchFamily="34" charset="0"/>
              </a:rPr>
              <a:t> Money Division</a:t>
            </a:r>
            <a:endParaRPr lang="en-US" sz="3200" b="0" noProof="0" dirty="0" smtClean="0">
              <a:latin typeface="Arial Narrow" panose="020B0606020202030204" pitchFamily="34" charset="0"/>
            </a:endParaRPr>
          </a:p>
          <a:p>
            <a:pPr algn="ctr"/>
            <a:r>
              <a:rPr lang="en-US" sz="3200" b="0" noProof="0" dirty="0" smtClean="0">
                <a:latin typeface="Arial Narrow" panose="020B0606020202030204" pitchFamily="34" charset="0"/>
              </a:rPr>
              <a:t>Ministry of Finance of the Slovak Republic</a:t>
            </a:r>
          </a:p>
        </p:txBody>
      </p:sp>
      <p:sp>
        <p:nvSpPr>
          <p:cNvPr id="120" name="Rectangle 4"/>
          <p:cNvSpPr>
            <a:spLocks/>
          </p:cNvSpPr>
          <p:nvPr userDrawn="1"/>
        </p:nvSpPr>
        <p:spPr bwMode="auto">
          <a:xfrm>
            <a:off x="7956376" y="6429335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noProof="0" dirty="0" smtClean="0">
              <a:solidFill>
                <a:srgbClr val="000000"/>
              </a:solidFill>
            </a:endParaRPr>
          </a:p>
        </p:txBody>
      </p:sp>
      <p:sp>
        <p:nvSpPr>
          <p:cNvPr id="121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2143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E22C0ED7-EE62-4D77-942A-B21917BC012C}" type="datetime1">
              <a:rPr lang="en-US" noProof="0" smtClean="0"/>
              <a:t>7/2/2019</a:t>
            </a:fld>
            <a:endParaRPr lang="en-US" noProof="0" dirty="0"/>
          </a:p>
        </p:txBody>
      </p:sp>
      <p:sp>
        <p:nvSpPr>
          <p:cNvPr id="122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31757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9582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356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ĺžnik 6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C9ADC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noProof="0" dirty="0" err="1" smtClean="0"/>
              <a:t>Klikn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sem</a:t>
            </a:r>
            <a:r>
              <a:rPr lang="en-US" noProof="0" dirty="0" smtClean="0"/>
              <a:t> a </a:t>
            </a:r>
            <a:r>
              <a:rPr lang="en-US" noProof="0" dirty="0" err="1" smtClean="0"/>
              <a:t>upravte</a:t>
            </a:r>
            <a:r>
              <a:rPr lang="en-US" noProof="0" dirty="0" smtClean="0"/>
              <a:t> </a:t>
            </a:r>
            <a:r>
              <a:rPr lang="en-US" noProof="0" dirty="0" err="1" smtClean="0"/>
              <a:t>štýl</a:t>
            </a:r>
            <a:r>
              <a:rPr lang="en-US" noProof="0" dirty="0" smtClean="0"/>
              <a:t> </a:t>
            </a:r>
            <a:r>
              <a:rPr lang="en-US" noProof="0" dirty="0" err="1" smtClean="0"/>
              <a:t>predlohy</a:t>
            </a:r>
            <a:r>
              <a:rPr lang="en-US" noProof="0" dirty="0" smtClean="0"/>
              <a:t> </a:t>
            </a:r>
            <a:r>
              <a:rPr lang="en-US" noProof="0" dirty="0" err="1" smtClean="0"/>
              <a:t>nadpisov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 noProof="0" dirty="0" err="1" smtClean="0"/>
              <a:t>Klikn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sem</a:t>
            </a:r>
            <a:r>
              <a:rPr lang="en-US" noProof="0" dirty="0" smtClean="0"/>
              <a:t> a </a:t>
            </a:r>
            <a:r>
              <a:rPr lang="en-US" noProof="0" dirty="0" err="1" smtClean="0"/>
              <a:t>upravte</a:t>
            </a:r>
            <a:r>
              <a:rPr lang="en-US" noProof="0" dirty="0" smtClean="0"/>
              <a:t> </a:t>
            </a:r>
            <a:r>
              <a:rPr lang="en-US" noProof="0" dirty="0" err="1" smtClean="0"/>
              <a:t>štýly</a:t>
            </a:r>
            <a:r>
              <a:rPr lang="en-US" noProof="0" dirty="0" smtClean="0"/>
              <a:t> </a:t>
            </a:r>
            <a:r>
              <a:rPr lang="en-US" noProof="0" dirty="0" err="1" smtClean="0"/>
              <a:t>predlohy</a:t>
            </a:r>
            <a:r>
              <a:rPr lang="en-US" noProof="0" dirty="0" smtClean="0"/>
              <a:t> </a:t>
            </a:r>
            <a:r>
              <a:rPr lang="en-US" noProof="0" dirty="0" err="1" smtClean="0"/>
              <a:t>textu</a:t>
            </a:r>
            <a:r>
              <a:rPr lang="en-US" noProof="0" dirty="0" smtClean="0"/>
              <a:t>.</a:t>
            </a:r>
          </a:p>
          <a:p>
            <a:pPr lvl="1"/>
            <a:r>
              <a:rPr lang="en-US" noProof="0" dirty="0" err="1" smtClean="0"/>
              <a:t>Druhá</a:t>
            </a:r>
            <a:r>
              <a:rPr lang="en-US" noProof="0" dirty="0" smtClean="0"/>
              <a:t> </a:t>
            </a:r>
            <a:r>
              <a:rPr lang="en-US" noProof="0" dirty="0" err="1" smtClean="0"/>
              <a:t>úroveň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etia</a:t>
            </a:r>
            <a:r>
              <a:rPr lang="en-US" noProof="0" dirty="0" smtClean="0"/>
              <a:t> </a:t>
            </a:r>
            <a:r>
              <a:rPr lang="en-US" noProof="0" dirty="0" err="1" smtClean="0"/>
              <a:t>úroveň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Štvrtá</a:t>
            </a:r>
            <a:r>
              <a:rPr lang="en-US" noProof="0" dirty="0" smtClean="0"/>
              <a:t> </a:t>
            </a:r>
            <a:r>
              <a:rPr lang="en-US" noProof="0" dirty="0" err="1" smtClean="0"/>
              <a:t>úroveň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Piata</a:t>
            </a:r>
            <a:r>
              <a:rPr lang="en-US" noProof="0" dirty="0" smtClean="0"/>
              <a:t> </a:t>
            </a:r>
            <a:r>
              <a:rPr lang="en-US" noProof="0" dirty="0" err="1" smtClean="0"/>
              <a:t>úroveň</a:t>
            </a:r>
            <a:endParaRPr lang="en-US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53981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5FBDC64B-6AA0-4DEB-947C-1D29CF343C47}" type="datetime1">
              <a:rPr lang="en-US" noProof="0" smtClean="0"/>
              <a:t>7/2/2019</a:t>
            </a:fld>
            <a:endParaRPr lang="en-US" noProof="0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64300"/>
            <a:ext cx="2895600" cy="339725"/>
          </a:xfrm>
          <a:prstGeom prst="rect">
            <a:avLst/>
          </a:prstGeom>
        </p:spPr>
        <p:txBody>
          <a:bodyPr/>
          <a:lstStyle>
            <a:lvl1pPr algn="ctr" eaLnBrk="1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31756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 b="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385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mtClean="0"/>
              <a:t>Kliknite sem a upravte štýl predlohy nadpisov.</a:t>
            </a:r>
            <a:endParaRPr lang="sk-S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1508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4A42B16B-56D4-43E6-9BB4-372EB7EAEA29}" type="datetime1">
              <a:rPr lang="sk-SK" smtClean="0"/>
              <a:t>2. 7. 2019</a:t>
            </a:fld>
            <a:endParaRPr lang="sk-SK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48425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sk-SK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48425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161694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Nadpis a tabuľ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725488"/>
          </a:xfrm>
        </p:spPr>
        <p:txBody>
          <a:bodyPr/>
          <a:lstStyle/>
          <a:p>
            <a:r>
              <a:rPr lang="sk-SK" smtClean="0"/>
              <a:t>Kliknite sem a upravte štýl predlohy nadpisov.</a:t>
            </a:r>
            <a:endParaRPr lang="sk-SK"/>
          </a:p>
        </p:txBody>
      </p:sp>
      <p:sp>
        <p:nvSpPr>
          <p:cNvPr id="3" name="Zástupný symbol tabuľky 2"/>
          <p:cNvSpPr>
            <a:spLocks noGrp="1"/>
          </p:cNvSpPr>
          <p:nvPr>
            <p:ph type="tbl" idx="1"/>
          </p:nvPr>
        </p:nvSpPr>
        <p:spPr>
          <a:xfrm>
            <a:off x="971550" y="1700213"/>
            <a:ext cx="7715250" cy="4425950"/>
          </a:xfrm>
        </p:spPr>
        <p:txBody>
          <a:bodyPr/>
          <a:lstStyle/>
          <a:p>
            <a:pPr lvl="0"/>
            <a:endParaRPr lang="sk-SK" noProof="0" smtClean="0"/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2143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02F760D6-6621-4BC5-B390-B2442FF150B7}" type="datetime1">
              <a:rPr lang="sk-SK" smtClean="0"/>
              <a:t>2. 7. 2019</a:t>
            </a:fld>
            <a:endParaRPr lang="sk-SK" dirty="0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31757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sk-SK" dirty="0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48425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10506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725488"/>
          </a:xfrm>
        </p:spPr>
        <p:txBody>
          <a:bodyPr/>
          <a:lstStyle/>
          <a:p>
            <a:r>
              <a:rPr lang="sk-SK" smtClean="0"/>
              <a:t>Kliknite sem a upravte štýl predlohy nadpisov.</a:t>
            </a:r>
            <a:endParaRPr lang="sk-SK"/>
          </a:p>
        </p:txBody>
      </p:sp>
      <p:sp>
        <p:nvSpPr>
          <p:cNvPr id="3" name="Zástupný symbol textu 2"/>
          <p:cNvSpPr>
            <a:spLocks noGrp="1"/>
          </p:cNvSpPr>
          <p:nvPr>
            <p:ph type="body" sz="half" idx="1"/>
          </p:nvPr>
        </p:nvSpPr>
        <p:spPr>
          <a:xfrm>
            <a:off x="971550" y="1700213"/>
            <a:ext cx="3781425" cy="4425950"/>
          </a:xfrm>
        </p:spPr>
        <p:txBody>
          <a:bodyPr/>
          <a:lstStyle/>
          <a:p>
            <a:pPr lvl="0"/>
            <a:r>
              <a:rPr lang="sk-SK" smtClean="0"/>
              <a:t>Kliknite sem a upravte štýly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sk-SK"/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4905375" y="1700213"/>
            <a:ext cx="3781425" cy="4425950"/>
          </a:xfrm>
        </p:spPr>
        <p:txBody>
          <a:bodyPr/>
          <a:lstStyle/>
          <a:p>
            <a:pPr lvl="0"/>
            <a:r>
              <a:rPr lang="sk-SK" smtClean="0"/>
              <a:t>Kliknite sem a upravte štýly predlohy textu.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sk-SK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2143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37EFF200-139A-4062-8E2C-B8C83E0E4077}" type="datetime1">
              <a:rPr lang="sk-SK" smtClean="0"/>
              <a:t>2. 7. 2019</a:t>
            </a:fld>
            <a:endParaRPr lang="sk-SK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31757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sk-SK" dirty="0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48425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674998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77896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dĺžnik 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NeueHaasGroteskText W02" panose="020B0504020202020204" pitchFamily="34" charset="-18"/>
              <a:ea typeface="+mj-ea"/>
              <a:cs typeface="+mj-cs"/>
              <a:sym typeface="NeueHaasGroteskText W02" panose="020B0504020202020204" pitchFamily="34" charset="-18"/>
            </a:endParaRPr>
          </a:p>
        </p:txBody>
      </p:sp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3467" y="382588"/>
            <a:ext cx="8229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k-SK" noProof="0" dirty="0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989138"/>
            <a:ext cx="8147050" cy="406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k-SK" noProof="0" dirty="0" smtClean="0"/>
              <a:t>Click to edit Master text styles</a:t>
            </a:r>
          </a:p>
          <a:p>
            <a:pPr lvl="1"/>
            <a:r>
              <a:rPr lang="en-US" altLang="sk-SK" noProof="0" dirty="0" smtClean="0"/>
              <a:t>Second level</a:t>
            </a:r>
          </a:p>
          <a:p>
            <a:pPr lvl="2"/>
            <a:r>
              <a:rPr lang="en-US" altLang="sk-SK" noProof="0" dirty="0" smtClean="0"/>
              <a:t>Third level</a:t>
            </a:r>
          </a:p>
          <a:p>
            <a:pPr lvl="3"/>
            <a:r>
              <a:rPr lang="en-US" altLang="sk-SK" noProof="0" dirty="0" smtClean="0"/>
              <a:t>Fourth level</a:t>
            </a:r>
          </a:p>
          <a:p>
            <a:pPr lvl="4"/>
            <a:r>
              <a:rPr lang="en-US" altLang="sk-SK" noProof="0" dirty="0" smtClean="0"/>
              <a:t>Fifth level</a:t>
            </a:r>
          </a:p>
        </p:txBody>
      </p:sp>
      <p:sp>
        <p:nvSpPr>
          <p:cNvPr id="1033" name="Rectangle 4"/>
          <p:cNvSpPr>
            <a:spLocks/>
          </p:cNvSpPr>
          <p:nvPr userDrawn="1"/>
        </p:nvSpPr>
        <p:spPr bwMode="auto">
          <a:xfrm>
            <a:off x="251520" y="631031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sk-SK" noProof="0" dirty="0"/>
          </a:p>
        </p:txBody>
      </p:sp>
      <p:pic>
        <p:nvPicPr>
          <p:cNvPr id="2" name="Obrázok 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363" y="6231768"/>
            <a:ext cx="481397" cy="690411"/>
          </a:xfrm>
          <a:prstGeom prst="rect">
            <a:avLst/>
          </a:prstGeom>
        </p:spPr>
      </p:pic>
      <p:sp>
        <p:nvSpPr>
          <p:cNvPr id="17" name="Rectangle 4"/>
          <p:cNvSpPr>
            <a:spLocks/>
          </p:cNvSpPr>
          <p:nvPr userDrawn="1"/>
        </p:nvSpPr>
        <p:spPr bwMode="auto">
          <a:xfrm>
            <a:off x="7956376" y="6429335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noProof="0" dirty="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NeueHaasGroteskText W02" pitchFamily="34" charset="-18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5pPr>
      <a:lvl6pPr marL="4572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SzPct val="80000"/>
        <a:buFont typeface="Wingdings" pitchFamily="2" charset="2"/>
        <a:buChar char="§"/>
        <a:defRPr sz="2400">
          <a:solidFill>
            <a:schemeClr val="tx1"/>
          </a:solidFill>
          <a:latin typeface="NeueHaasGroteskText W02" pitchFamily="34" charset="-18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 sz="2000">
          <a:solidFill>
            <a:schemeClr val="tx1"/>
          </a:solidFill>
          <a:latin typeface="NeueHaasGroteskText W02" pitchFamily="34" charset="-1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>
          <a:solidFill>
            <a:schemeClr val="tx1"/>
          </a:solidFill>
          <a:latin typeface="NeueHaasGroteskText W02" pitchFamily="34" charset="-1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 sz="1500">
          <a:solidFill>
            <a:schemeClr val="tx1"/>
          </a:solidFill>
          <a:latin typeface="NeueHaasGroteskText W02" pitchFamily="34" charset="-1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 sz="1300">
          <a:solidFill>
            <a:schemeClr val="tx1"/>
          </a:solidFill>
          <a:latin typeface="NeueHaasGroteskText W02" pitchFamily="34" charset="-1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finance.gov.sk/en/finance/value-money/about-value-money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mailto:matej.kurian@mfsr.sk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finance.gov.sk/en/finance/value-money/about-value-money/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15.xml"/><Relationship Id="rId7" Type="http://schemas.openxmlformats.org/officeDocument/2006/relationships/diagramData" Target="../diagrams/data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7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8716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dĺžnik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sk-SK" sz="28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6" name="Nadpis 5"/>
          <p:cNvSpPr>
            <a:spLocks noGrp="1"/>
          </p:cNvSpPr>
          <p:nvPr>
            <p:ph type="ctrTitle"/>
          </p:nvPr>
        </p:nvSpPr>
        <p:spPr>
          <a:xfrm>
            <a:off x="0" y="2060848"/>
            <a:ext cx="9169631" cy="1903543"/>
          </a:xfrm>
        </p:spPr>
        <p:txBody>
          <a:bodyPr/>
          <a:lstStyle/>
          <a:p>
            <a:r>
              <a:rPr lang="en-US" sz="2800" dirty="0" smtClean="0">
                <a:latin typeface="Arial Narrow" panose="020B0606020202030204" pitchFamily="34" charset="0"/>
              </a:rPr>
              <a:t>Targeted</a:t>
            </a:r>
            <a:r>
              <a:rPr lang="sk-SK" sz="2800" dirty="0" smtClean="0">
                <a:latin typeface="Arial Narrow" panose="020B0606020202030204" pitchFamily="34" charset="0"/>
              </a:rPr>
              <a:t> Budget </a:t>
            </a:r>
            <a:r>
              <a:rPr lang="en-US" sz="2800" dirty="0" smtClean="0">
                <a:latin typeface="Arial Narrow" panose="020B0606020202030204" pitchFamily="34" charset="0"/>
              </a:rPr>
              <a:t>Review</a:t>
            </a:r>
            <a:r>
              <a:rPr lang="sk-SK" sz="2800" dirty="0" smtClean="0">
                <a:latin typeface="Arial Narrow" panose="020B0606020202030204" pitchFamily="34" charset="0"/>
              </a:rPr>
              <a:t> of Slovakia</a:t>
            </a:r>
            <a:endParaRPr lang="en-US" sz="2400" i="1" dirty="0">
              <a:latin typeface="Arial Narrow" panose="020B0606020202030204" pitchFamily="34" charset="0"/>
            </a:endParaRPr>
          </a:p>
        </p:txBody>
      </p:sp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2928258" y="5877272"/>
            <a:ext cx="331311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2C9ADC"/>
              </a:buClr>
              <a:buSzPct val="80000"/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NeueHaasGroteskText W02" panose="020B0504020202020204" pitchFamily="34" charset="-18"/>
              </a:defRPr>
            </a:lvl1pPr>
            <a:lvl2pPr marL="742950" indent="-28575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NeueHaasGroteskText W02" panose="020B0504020202020204" pitchFamily="34" charset="-18"/>
              </a:defRPr>
            </a:lvl2pPr>
            <a:lvl3pPr marL="1143000" indent="-22860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NeueHaasGroteskText W02" panose="020B0504020202020204" pitchFamily="34" charset="-18"/>
              </a:defRPr>
            </a:lvl3pPr>
            <a:lvl4pPr marL="1600200" indent="-22860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NeueHaasGroteskText W02" panose="020B0504020202020204" pitchFamily="34" charset="-18"/>
              </a:defRPr>
            </a:lvl4pPr>
            <a:lvl5pPr marL="2057400" indent="-22860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sz="1600" b="1" dirty="0" smtClean="0">
                <a:latin typeface="Arial Narrow" panose="020B0606020202030204" pitchFamily="34" charset="0"/>
              </a:rPr>
              <a:t>July 2019</a:t>
            </a:r>
            <a:endParaRPr lang="en-US" sz="1800" b="1" dirty="0">
              <a:latin typeface="Arial Narrow" panose="020B0606020202030204" pitchFamily="34" charset="0"/>
            </a:endParaRPr>
          </a:p>
        </p:txBody>
      </p:sp>
      <p:pic>
        <p:nvPicPr>
          <p:cNvPr id="12" name="Obrázo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6068" y="3376118"/>
            <a:ext cx="997491" cy="1176546"/>
          </a:xfrm>
          <a:prstGeom prst="rect">
            <a:avLst/>
          </a:prstGeom>
        </p:spPr>
      </p:pic>
      <p:sp>
        <p:nvSpPr>
          <p:cNvPr id="5" name="Obdĺžnik 4"/>
          <p:cNvSpPr/>
          <p:nvPr/>
        </p:nvSpPr>
        <p:spPr>
          <a:xfrm>
            <a:off x="1403648" y="5288999"/>
            <a:ext cx="61206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hlinkClick r:id="rId9"/>
              </a:rPr>
              <a:t>http://</a:t>
            </a:r>
            <a:r>
              <a:rPr lang="en-US" dirty="0" smtClean="0">
                <a:hlinkClick r:id="rId9"/>
              </a:rPr>
              <a:t>bit.ly/SlovakVfM</a:t>
            </a:r>
            <a:endParaRPr lang="en-US" dirty="0">
              <a:hlinkClick r:id="rId9"/>
            </a:endParaRPr>
          </a:p>
        </p:txBody>
      </p:sp>
    </p:spTree>
    <p:extLst>
      <p:ext uri="{BB962C8B-B14F-4D97-AF65-F5344CB8AC3E}">
        <p14:creationId xmlns:p14="http://schemas.microsoft.com/office/powerpoint/2010/main" val="3800606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695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68312" y="138702"/>
            <a:ext cx="8229600" cy="742156"/>
          </a:xfrm>
        </p:spPr>
        <p:txBody>
          <a:bodyPr/>
          <a:lstStyle/>
          <a:p>
            <a:r>
              <a:rPr lang="en-US" sz="3200" dirty="0" smtClean="0"/>
              <a:t>Taking budgeting debate beyond governance</a:t>
            </a:r>
            <a:endParaRPr lang="en-US" sz="320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68312" y="1124744"/>
            <a:ext cx="8640192" cy="530701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b="1" dirty="0" smtClean="0"/>
              <a:t>OECD Budget Review useful as a starting point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 smtClean="0"/>
              <a:t>Budget review provides very good process overview, identification of weaknesses and challenges, description of best practices</a:t>
            </a:r>
            <a:r>
              <a:rPr lang="sk-SK" dirty="0" smtClean="0"/>
              <a:t>,</a:t>
            </a:r>
            <a:r>
              <a:rPr lang="en-US" dirty="0" smtClean="0"/>
              <a:t> ..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b="1" dirty="0" smtClean="0"/>
              <a:t>Possible other challenges, </a:t>
            </a:r>
            <a:r>
              <a:rPr lang="en-US" b="1" dirty="0"/>
              <a:t>but without proper benchmark we do not know for sure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(low) accuracy of </a:t>
            </a:r>
            <a:r>
              <a:rPr lang="en-US" dirty="0" smtClean="0"/>
              <a:t>budgeting (plan / turnout),</a:t>
            </a:r>
            <a:endParaRPr lang="en-US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(high) volume of carry-overs,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(too many) in-year changes in the budget,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(sub)optimal volume of programs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b="1" dirty="0" smtClean="0"/>
              <a:t>Performance data should follow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 smtClean="0"/>
              <a:t>linking actual performance with institution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 smtClean="0"/>
              <a:t>indicators + benchmarks for budgeting (what is PISA score equivalent for budgeting?)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10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7365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2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Nadpis 1"/>
          <p:cNvSpPr txBox="1">
            <a:spLocks/>
          </p:cNvSpPr>
          <p:nvPr/>
        </p:nvSpPr>
        <p:spPr bwMode="auto">
          <a:xfrm>
            <a:off x="653294" y="1844824"/>
            <a:ext cx="8229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9pPr>
          </a:lstStyle>
          <a:p>
            <a:r>
              <a:rPr lang="en-US" sz="3200" kern="0" dirty="0" smtClean="0">
                <a:solidFill>
                  <a:srgbClr val="2C9ADC"/>
                </a:solidFill>
                <a:latin typeface="Arial Narrow" panose="020B0606020202030204" pitchFamily="34" charset="0"/>
              </a:rPr>
              <a:t>Thank you</a:t>
            </a:r>
            <a:r>
              <a:rPr lang="sk-SK" sz="3200" kern="0" dirty="0" smtClean="0">
                <a:solidFill>
                  <a:srgbClr val="2C9ADC"/>
                </a:solidFill>
                <a:latin typeface="Arial Narrow" panose="020B0606020202030204" pitchFamily="34" charset="0"/>
              </a:rPr>
              <a:t> for </a:t>
            </a:r>
            <a:r>
              <a:rPr lang="en-US" sz="3200" kern="0" dirty="0" smtClean="0">
                <a:solidFill>
                  <a:srgbClr val="2C9ADC"/>
                </a:solidFill>
                <a:latin typeface="Arial Narrow" panose="020B0606020202030204" pitchFamily="34" charset="0"/>
              </a:rPr>
              <a:t>your attention.</a:t>
            </a:r>
            <a:endParaRPr lang="en-US" sz="3200" kern="0" dirty="0">
              <a:solidFill>
                <a:srgbClr val="2C9ADC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Rectangle 5"/>
          <p:cNvSpPr txBox="1">
            <a:spLocks noChangeArrowheads="1"/>
          </p:cNvSpPr>
          <p:nvPr/>
        </p:nvSpPr>
        <p:spPr bwMode="auto">
          <a:xfrm>
            <a:off x="679934" y="3573090"/>
            <a:ext cx="3892066" cy="1728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SzPct val="80000"/>
              <a:buFont typeface="Wingdings" pitchFamily="2" charset="2"/>
              <a:buNone/>
              <a:defRPr sz="1900">
                <a:solidFill>
                  <a:schemeClr val="tx1"/>
                </a:solidFill>
                <a:latin typeface="NeueHaasGroteskText W02" pitchFamily="34" charset="-18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NeueHaasGroteskText W02" pitchFamily="34" charset="-1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NeueHaasGroteskText W02" pitchFamily="34" charset="-1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NeueHaasGroteskText W02" pitchFamily="34" charset="-1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NeueHaasGroteskText W02" pitchFamily="34" charset="-1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en-US" sz="1400" b="1" kern="0" dirty="0" smtClean="0"/>
              <a:t>Matej Kurian</a:t>
            </a:r>
          </a:p>
          <a:p>
            <a:pPr algn="l"/>
            <a:r>
              <a:rPr lang="en-US" sz="1400" kern="0" dirty="0" smtClean="0"/>
              <a:t>Director of Department,</a:t>
            </a:r>
          </a:p>
          <a:p>
            <a:pPr algn="l"/>
            <a:r>
              <a:rPr lang="en-US" sz="1400" kern="0" dirty="0" smtClean="0">
                <a:solidFill>
                  <a:srgbClr val="2C9ADC"/>
                </a:solidFill>
                <a:hlinkClick r:id="rId7"/>
              </a:rPr>
              <a:t>Value for Money Division </a:t>
            </a:r>
            <a:endParaRPr lang="en-US" sz="1400" kern="0" dirty="0" smtClean="0">
              <a:solidFill>
                <a:srgbClr val="2C9ADC"/>
              </a:solidFill>
            </a:endParaRPr>
          </a:p>
          <a:p>
            <a:pPr algn="l"/>
            <a:r>
              <a:rPr lang="en-US" sz="1400" kern="0" dirty="0" smtClean="0"/>
              <a:t>Ministry of Finance of the Slovak Republic</a:t>
            </a:r>
          </a:p>
          <a:p>
            <a:pPr algn="l"/>
            <a:endParaRPr lang="en-US" sz="1400" kern="0" dirty="0" smtClean="0"/>
          </a:p>
          <a:p>
            <a:pPr algn="l"/>
            <a:r>
              <a:rPr lang="en-US" sz="1400" kern="0" dirty="0" smtClean="0"/>
              <a:t>E-mail: </a:t>
            </a:r>
            <a:r>
              <a:rPr lang="en-US" sz="1400" kern="0" dirty="0" smtClean="0">
                <a:hlinkClick r:id="rId8"/>
              </a:rPr>
              <a:t>matej.kurian@mfsr.sk</a:t>
            </a:r>
            <a:r>
              <a:rPr lang="en-US" sz="1400" kern="0" dirty="0" smtClean="0"/>
              <a:t> </a:t>
            </a:r>
          </a:p>
          <a:p>
            <a:pPr algn="l"/>
            <a:r>
              <a:rPr lang="en-US" sz="1400" kern="0" dirty="0" smtClean="0"/>
              <a:t>Tel.: +421 2 5958 2426</a:t>
            </a:r>
            <a:endParaRPr lang="en-US" sz="1400" kern="0" dirty="0"/>
          </a:p>
        </p:txBody>
      </p:sp>
      <p:sp>
        <p:nvSpPr>
          <p:cNvPr id="2" name="Zástupný symbol čísla snímky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11</a:t>
            </a:fld>
            <a:endParaRPr lang="sk-SK" dirty="0"/>
          </a:p>
        </p:txBody>
      </p:sp>
      <p:pic>
        <p:nvPicPr>
          <p:cNvPr id="5" name="Obrázok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50" t="22814" r="16133" b="21536"/>
          <a:stretch/>
        </p:blipFill>
        <p:spPr>
          <a:xfrm>
            <a:off x="4644008" y="3573090"/>
            <a:ext cx="4108532" cy="194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95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61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3200" i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68313" y="332656"/>
            <a:ext cx="8229600" cy="958180"/>
          </a:xfrm>
        </p:spPr>
        <p:txBody>
          <a:bodyPr/>
          <a:lstStyle/>
          <a:p>
            <a:r>
              <a:rPr lang="en-US" sz="3200" dirty="0"/>
              <a:t>OECD, </a:t>
            </a:r>
            <a:r>
              <a:rPr lang="en-US" sz="3200" dirty="0" smtClean="0"/>
              <a:t>2014: </a:t>
            </a:r>
            <a:r>
              <a:rPr lang="en-US" sz="3200" i="1" dirty="0"/>
              <a:t>Spending review should be an integral part of budget preparation process... </a:t>
            </a:r>
            <a:endParaRPr lang="en-US" sz="3200" i="1" dirty="0">
              <a:solidFill>
                <a:srgbClr val="2C9ADC"/>
              </a:solidFill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68313" y="1290836"/>
            <a:ext cx="8147050" cy="5378524"/>
          </a:xfrm>
        </p:spPr>
        <p:txBody>
          <a:bodyPr tIns="144000" bIns="144000"/>
          <a:lstStyle/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2300" dirty="0" smtClean="0"/>
              <a:t>2016: Pilot Value for Money initiative in Slovakia - efficiency of public expenditures, resulting in increase in public sector productivity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2300" dirty="0" smtClean="0"/>
              <a:t>Three tools of VfM Division: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dirty="0" smtClean="0"/>
              <a:t>Spending reviews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Targeted reviews by sector (education, health) or by a function (IT, wages). Proceed in rounds (roughly 3 reviews per year) 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dirty="0" smtClean="0"/>
              <a:t>Investment appraisals by MoF (four-eyes principle)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All investments above 40 mil. eur, or above 10 mil. eur in IT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dirty="0" smtClean="0"/>
              <a:t>Optimization projects in state enterprises 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Slovak Railways, Slovak Water Management Enterprise, Health insurance company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dirty="0" smtClean="0"/>
              <a:t>Slovakia, 2018: </a:t>
            </a:r>
            <a:r>
              <a:rPr lang="en-US" i="1" dirty="0" smtClean="0"/>
              <a:t>Review </a:t>
            </a:r>
            <a:r>
              <a:rPr lang="en-US" i="1" dirty="0"/>
              <a:t>„most“ of the public expenditure during the election </a:t>
            </a:r>
            <a:r>
              <a:rPr lang="en-US" i="1" dirty="0" smtClean="0"/>
              <a:t>term from 2020 </a:t>
            </a:r>
            <a:r>
              <a:rPr lang="en-US" dirty="0" smtClean="0"/>
              <a:t>(</a:t>
            </a:r>
            <a:r>
              <a:rPr lang="en-US" dirty="0"/>
              <a:t>Budget Law </a:t>
            </a:r>
            <a:r>
              <a:rPr lang="en-US" dirty="0" smtClean="0"/>
              <a:t>Amendment</a:t>
            </a:r>
            <a:r>
              <a:rPr lang="en-US" dirty="0"/>
              <a:t>)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2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930269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85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ĺžni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2C9ADC"/>
                </a:solidFill>
              </a:rPr>
              <a:t>Spending reviews come in many shapes. Slovak ones are </a:t>
            </a:r>
            <a:r>
              <a:rPr lang="en-US" sz="2400" dirty="0" smtClean="0">
                <a:solidFill>
                  <a:srgbClr val="2C9ADC"/>
                </a:solidFill>
              </a:rPr>
              <a:t>targeted, focus </a:t>
            </a:r>
            <a:r>
              <a:rPr lang="en-US" sz="2400" dirty="0">
                <a:solidFill>
                  <a:srgbClr val="2C9ADC"/>
                </a:solidFill>
              </a:rPr>
              <a:t>on </a:t>
            </a:r>
            <a:r>
              <a:rPr lang="en-US" sz="2400" dirty="0" smtClean="0">
                <a:solidFill>
                  <a:srgbClr val="2C9ADC"/>
                </a:solidFill>
              </a:rPr>
              <a:t>value and institution building at the moment. </a:t>
            </a:r>
            <a:endParaRPr lang="en-US" sz="2400" dirty="0">
              <a:solidFill>
                <a:srgbClr val="2C9ADC"/>
              </a:solidFill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504742" y="1556792"/>
            <a:ext cx="8147050" cy="4851953"/>
          </a:xfrm>
        </p:spPr>
        <p:txBody>
          <a:bodyPr tIns="108000"/>
          <a:lstStyle/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Cut „bad“, promote „good“ expenditure within each sector = allocative efficiency, not consolidation tool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Executed by internal capacities – analytical units in ministries, MoF leads the process, methodology and analytical capacity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Supplementing processes that should have been in place already, but are not routinely carried out (what happened to program budgeting?)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Probably have more original research / analysis than in other countries. (e.g. calculating pay premium for public employees, reclassification of drug subsidies)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Is not routine part aligned with standard budgetary processes yet – work in process,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Meanwhile we use using alternative methods – mostly Implementation Unit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Supporting spending reviews throughout CEE region – e.g. CEF and Moldova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Strong traction and support compared to some other efforts 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1800" dirty="0" smtClean="0"/>
              <a:t>Need to figure out – political inputs and technical analysis – reform options presented and selected. 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3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96026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861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dĺžni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67544" y="379376"/>
            <a:ext cx="8229600" cy="792162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2C9ADC"/>
                </a:solidFill>
              </a:rPr>
              <a:t>Spending reviews implemented in the budget</a:t>
            </a:r>
            <a:endParaRPr lang="en-US" sz="3200" dirty="0">
              <a:solidFill>
                <a:srgbClr val="2C9ADC"/>
              </a:solidFill>
            </a:endParaRPr>
          </a:p>
        </p:txBody>
      </p:sp>
      <p:graphicFrame>
        <p:nvGraphicFramePr>
          <p:cNvPr id="5" name="Zástupný symbol obsah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27651299"/>
              </p:ext>
            </p:extLst>
          </p:nvPr>
        </p:nvGraphicFramePr>
        <p:xfrm>
          <a:off x="98260" y="1484784"/>
          <a:ext cx="8968168" cy="432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63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2C9ADC"/>
                </a:solidFill>
              </a:rPr>
              <a:t>Lessons learnt </a:t>
            </a:r>
            <a:endParaRPr lang="sk-SK" sz="3200" dirty="0">
              <a:solidFill>
                <a:srgbClr val="2C9ADC"/>
              </a:solidFill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504742" y="1174750"/>
            <a:ext cx="8147050" cy="4990554"/>
          </a:xfrm>
        </p:spPr>
        <p:txBody>
          <a:bodyPr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b="1" dirty="0" smtClean="0"/>
              <a:t>Political ownership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en-US" sz="1600" dirty="0" smtClean="0"/>
              <a:t>Crucial for the exercise. It is never good enough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b="1" dirty="0"/>
              <a:t>Internal </a:t>
            </a:r>
            <a:r>
              <a:rPr lang="en-US" sz="1800" b="1" dirty="0" smtClean="0"/>
              <a:t>analysts</a:t>
            </a:r>
            <a:r>
              <a:rPr lang="sk-SK" sz="1800" b="1" dirty="0" smtClean="0"/>
              <a:t> are </a:t>
            </a:r>
            <a:r>
              <a:rPr lang="en-US" sz="1800" b="1" dirty="0" smtClean="0"/>
              <a:t>value </a:t>
            </a:r>
            <a:r>
              <a:rPr lang="en-US" sz="1800" b="1" dirty="0"/>
              <a:t>for money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en-US" sz="1600" dirty="0"/>
              <a:t>Rather than outsourcing the analysis, results are much better when an in-house analytical </a:t>
            </a:r>
            <a:r>
              <a:rPr lang="sk-SK" sz="1600" dirty="0" smtClean="0"/>
              <a:t>(and </a:t>
            </a:r>
            <a:r>
              <a:rPr lang="en-US" sz="1600" dirty="0" smtClean="0"/>
              <a:t>implementation</a:t>
            </a:r>
            <a:r>
              <a:rPr lang="sk-SK" sz="1600" dirty="0" smtClean="0"/>
              <a:t>) </a:t>
            </a:r>
            <a:r>
              <a:rPr lang="en-US" sz="1600" dirty="0" smtClean="0"/>
              <a:t>unit </a:t>
            </a:r>
            <a:r>
              <a:rPr lang="en-US" sz="1600" dirty="0"/>
              <a:t>exists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en-US" sz="1600" dirty="0" smtClean="0"/>
              <a:t>Sectoral </a:t>
            </a:r>
            <a:r>
              <a:rPr lang="en-US" sz="1600" dirty="0"/>
              <a:t>analysts are good cops, MoF are bad cops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b="1" dirty="0" smtClean="0"/>
              <a:t>Ambitious goals</a:t>
            </a:r>
            <a:endParaRPr lang="sk-SK" sz="1800" b="1" dirty="0" smtClean="0"/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b="1" dirty="0" smtClean="0"/>
              <a:t>Budget is key tool for MoF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en-US" sz="1600" dirty="0" smtClean="0"/>
              <a:t>Use budgetary process as much as you can (spending limits, measures, performance goals, annex the spending review reports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en-US" sz="1600" dirty="0" smtClean="0"/>
              <a:t>Ideally with clear spending baseline projections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b="1" dirty="0" smtClean="0"/>
              <a:t>Implementation</a:t>
            </a:r>
            <a:r>
              <a:rPr lang="en-US" sz="1800" dirty="0" smtClean="0"/>
              <a:t> is typical weakness 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sk-SK" sz="1600" dirty="0" smtClean="0"/>
              <a:t>And</a:t>
            </a:r>
            <a:r>
              <a:rPr lang="en-US" sz="1600" dirty="0" smtClean="0"/>
              <a:t> key to translate ideas into better services for citizens 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en-US" sz="1600" dirty="0" smtClean="0"/>
              <a:t>Broader engagement is necessary </a:t>
            </a:r>
            <a:endParaRPr lang="sk-SK" sz="1600" dirty="0" smtClean="0"/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en-US" sz="1600" u="sng" dirty="0" smtClean="0"/>
              <a:t>Set the implementation unit – in the center of government and elsewhere</a:t>
            </a:r>
            <a:endParaRPr lang="sk-SK" sz="1600" u="sng" dirty="0" smtClean="0"/>
          </a:p>
          <a:p>
            <a:pPr>
              <a:spcBef>
                <a:spcPts val="400"/>
              </a:spcBef>
              <a:spcAft>
                <a:spcPts val="400"/>
              </a:spcAft>
            </a:pPr>
            <a:endParaRPr lang="en-US" sz="1600" dirty="0" smtClean="0"/>
          </a:p>
          <a:p>
            <a:pPr>
              <a:spcBef>
                <a:spcPts val="400"/>
              </a:spcBef>
              <a:spcAft>
                <a:spcPts val="400"/>
              </a:spcAft>
            </a:pPr>
            <a:endParaRPr lang="en-US" sz="1600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5</a:t>
            </a:fld>
            <a:endParaRPr lang="sk-SK" dirty="0"/>
          </a:p>
        </p:txBody>
      </p:sp>
      <p:sp>
        <p:nvSpPr>
          <p:cNvPr id="4" name="Obdĺžnik 3"/>
          <p:cNvSpPr/>
          <p:nvPr/>
        </p:nvSpPr>
        <p:spPr bwMode="auto">
          <a:xfrm>
            <a:off x="504742" y="3573016"/>
            <a:ext cx="7883682" cy="1368152"/>
          </a:xfrm>
          <a:prstGeom prst="rect">
            <a:avLst/>
          </a:prstGeom>
          <a:solidFill>
            <a:srgbClr val="2C9ADC">
              <a:alpha val="28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k-SK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417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25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dĺžnik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28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ECD Budget review</a:t>
            </a:r>
            <a:r>
              <a:rPr lang="sk-SK" smtClean="0"/>
              <a:t> of Slovakia:</a:t>
            </a: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>Three areas with space for improvement</a:t>
            </a:r>
            <a:endParaRPr lang="en-US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Strengthening medium term budgeting framework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Developing governance framework for CAPEX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Revival of performance (program) budgeting</a:t>
            </a:r>
          </a:p>
          <a:p>
            <a:endParaRPr lang="en-US" dirty="0" smtClean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AA1DA-064C-4885-AB38-865FC0F739AA}" type="slidenum">
              <a:rPr lang="sk-SK" smtClean="0"/>
              <a:pPr/>
              <a:t>6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4828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607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28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44062" y="112038"/>
            <a:ext cx="8229600" cy="958180"/>
          </a:xfrm>
        </p:spPr>
        <p:txBody>
          <a:bodyPr/>
          <a:lstStyle/>
          <a:p>
            <a:r>
              <a:rPr lang="en-US" sz="3200" dirty="0" smtClean="0">
                <a:solidFill>
                  <a:srgbClr val="2C9ADC"/>
                </a:solidFill>
              </a:rPr>
              <a:t>OECD Budget Review of Slovakia:</a:t>
            </a:r>
            <a:br>
              <a:rPr lang="en-US" sz="3200" dirty="0" smtClean="0">
                <a:solidFill>
                  <a:srgbClr val="2C9ADC"/>
                </a:solidFill>
              </a:rPr>
            </a:br>
            <a:r>
              <a:rPr lang="en-US" sz="2800" dirty="0" smtClean="0"/>
              <a:t>Space for improvement in three areas</a:t>
            </a:r>
            <a:endParaRPr lang="en-US" sz="3200" dirty="0">
              <a:solidFill>
                <a:srgbClr val="2C9ADC"/>
              </a:solidFill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44061" y="1196752"/>
            <a:ext cx="8155615" cy="566124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b="1" dirty="0" smtClean="0"/>
              <a:t>Strengthening MTBF – work in progress </a:t>
            </a:r>
          </a:p>
          <a:p>
            <a:pPr lvl="1"/>
            <a:r>
              <a:rPr lang="en-US" dirty="0" smtClean="0"/>
              <a:t>Debate about introduction of expenditure ceiling in Slovakia since 2018</a:t>
            </a:r>
          </a:p>
          <a:p>
            <a:pPr lvl="1"/>
            <a:r>
              <a:rPr lang="en-US" dirty="0" smtClean="0"/>
              <a:t>Working group of MoF (IFP, VfM) and Council for Budget Responsibility</a:t>
            </a:r>
          </a:p>
          <a:p>
            <a:pPr lvl="1"/>
            <a:r>
              <a:rPr lang="en-US" dirty="0" smtClean="0"/>
              <a:t>VfM responsible for ministerial baselines estimates</a:t>
            </a:r>
          </a:p>
          <a:p>
            <a:pPr lvl="1"/>
            <a:r>
              <a:rPr lang="en-US" i="1" dirty="0" smtClean="0"/>
              <a:t>Aim: binding ministerial ceilings, integrated with spending reviews (savings vs. new priorities)</a:t>
            </a:r>
          </a:p>
          <a:p>
            <a:pPr marL="457200" indent="-457200">
              <a:buFont typeface="+mj-lt"/>
              <a:buAutoNum type="arabicPeriod"/>
            </a:pPr>
            <a:r>
              <a:rPr lang="en-US" b="1" dirty="0" smtClean="0"/>
              <a:t>Developing governance framework for CAPEX</a:t>
            </a:r>
          </a:p>
          <a:p>
            <a:pPr lvl="1"/>
            <a:r>
              <a:rPr lang="en-US" dirty="0" smtClean="0"/>
              <a:t>proposed National investment plan still without prioritization and without comparability of investments from different areas</a:t>
            </a:r>
          </a:p>
          <a:p>
            <a:pPr lvl="1"/>
            <a:r>
              <a:rPr lang="en-US" dirty="0" smtClean="0"/>
              <a:t>VfM already strengthening  the process by assessing feasibility studies</a:t>
            </a:r>
          </a:p>
          <a:p>
            <a:pPr lvl="1"/>
            <a:r>
              <a:rPr lang="en-US" i="1" dirty="0" smtClean="0"/>
              <a:t>Aim: Infrastructure and Project Authority (UK-like)</a:t>
            </a:r>
          </a:p>
          <a:p>
            <a:pPr marL="457200" indent="-457200">
              <a:buFont typeface="+mj-lt"/>
              <a:buAutoNum type="arabicPeriod"/>
            </a:pPr>
            <a:r>
              <a:rPr lang="en-US" b="1" dirty="0" smtClean="0"/>
              <a:t>Revival of performance (program) budgeting</a:t>
            </a:r>
            <a:endParaRPr lang="en-US" dirty="0" smtClean="0"/>
          </a:p>
          <a:p>
            <a:pPr lvl="1"/>
            <a:r>
              <a:rPr lang="en-US" dirty="0" smtClean="0"/>
              <a:t>Introduced in 2004, but lost momentum and become too formalistic</a:t>
            </a:r>
          </a:p>
          <a:p>
            <a:pPr lvl="1"/>
            <a:r>
              <a:rPr lang="en-US" i="1" dirty="0" smtClean="0"/>
              <a:t>Aim: Right-size and use for strategic debate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7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63287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3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28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82296" y="139140"/>
            <a:ext cx="8229600" cy="985604"/>
          </a:xfrm>
        </p:spPr>
        <p:txBody>
          <a:bodyPr/>
          <a:lstStyle/>
          <a:p>
            <a:r>
              <a:rPr lang="en-US" sz="3200" dirty="0" smtClean="0"/>
              <a:t>3. Performance budgeting</a:t>
            </a:r>
            <a:r>
              <a:rPr lang="sk-SK" sz="3200" dirty="0" smtClean="0"/>
              <a:t> in Slovakia</a:t>
            </a:r>
            <a:r>
              <a:rPr lang="en-US" sz="3200" dirty="0" smtClean="0"/>
              <a:t>:</a:t>
            </a:r>
            <a:br>
              <a:rPr lang="en-US" sz="3200" dirty="0" smtClean="0"/>
            </a:br>
            <a:r>
              <a:rPr lang="en-US" sz="2800" dirty="0" smtClean="0"/>
              <a:t>Discussion about inputs instead of outcomes</a:t>
            </a:r>
            <a:endParaRPr lang="en-US" sz="280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82296" y="1239578"/>
            <a:ext cx="8229600" cy="5596990"/>
          </a:xfrm>
        </p:spPr>
        <p:txBody>
          <a:bodyPr tIns="72000"/>
          <a:lstStyle/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b="1" dirty="0" smtClean="0"/>
              <a:t>OECD: </a:t>
            </a:r>
            <a:r>
              <a:rPr lang="en-US" b="1" i="1" dirty="0" smtClean="0"/>
              <a:t>Presentational program budgeting, very formalistic in practic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Rather process then outcome targets, at too disaggregated level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Indicators developed by staff without proper training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dirty="0" smtClean="0"/>
              <a:t>Evaluation plays only a secondary role (on voluntary basis)</a:t>
            </a:r>
          </a:p>
          <a:p>
            <a:pPr marL="457200" lvl="1" indent="0">
              <a:spcBef>
                <a:spcPts val="200"/>
              </a:spcBef>
              <a:spcAft>
                <a:spcPts val="200"/>
              </a:spcAft>
              <a:buNone/>
            </a:pPr>
            <a:endParaRPr lang="en-US" dirty="0" smtClean="0"/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b="1" dirty="0" smtClean="0"/>
              <a:t>OECD: </a:t>
            </a:r>
            <a:r>
              <a:rPr lang="en-US" b="1" i="1" dirty="0" smtClean="0"/>
              <a:t>Spending reviews filling the gap in program evaluation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New indicators (e.g. amenable mortality, PISA,...) and program structures (e.g. health insurance) proposed by spending reviews, integrated in budget documentation</a:t>
            </a:r>
          </a:p>
          <a:p>
            <a:pPr marL="457200" lvl="1" indent="0">
              <a:spcBef>
                <a:spcPts val="200"/>
              </a:spcBef>
              <a:spcAft>
                <a:spcPts val="200"/>
              </a:spcAft>
              <a:buNone/>
            </a:pPr>
            <a:endParaRPr lang="en-US" dirty="0"/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b="1" dirty="0" smtClean="0"/>
              <a:t>Aims: Right-size </a:t>
            </a:r>
            <a:r>
              <a:rPr lang="en-US" b="1" dirty="0"/>
              <a:t>and use for strategic </a:t>
            </a:r>
            <a:r>
              <a:rPr lang="en-US" b="1" dirty="0" smtClean="0"/>
              <a:t>debate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What is the best way to pursuit performance debate?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Level of integration/separation of spending reviews and program budgeting?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8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1932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9ADC"/>
                </a:solidFill>
              </a:rPr>
              <a:t>Step by step towards </a:t>
            </a:r>
            <a:r>
              <a:rPr lang="en-US" dirty="0" smtClean="0">
                <a:solidFill>
                  <a:srgbClr val="2C9ADC"/>
                </a:solidFill>
              </a:rPr>
              <a:t>discussion about outcomes</a:t>
            </a:r>
            <a:endParaRPr lang="en-US" dirty="0">
              <a:solidFill>
                <a:srgbClr val="2C9ADC"/>
              </a:solidFill>
            </a:endParaRP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9</a:t>
            </a:fld>
            <a:endParaRPr lang="sk-SK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6109845"/>
              </p:ext>
            </p:extLst>
          </p:nvPr>
        </p:nvGraphicFramePr>
        <p:xfrm>
          <a:off x="146251" y="1055078"/>
          <a:ext cx="8930638" cy="52282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6721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mvIbQEmtKI2LcJoX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bRVYFpQ4quy7ocZ1N8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5kHYiVSoq6g9KZnTat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IOyL44QNuEppDDSWnO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FWRPW_TDKbyu4rD_JZ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eHLCw.SfiYv5Vlu8l4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V5mNX_SeOxdSkmNxCT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ua_h34RhK0_s4BrChG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z3RZS2QEiOc8yokpx0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h91DoGRNOYgRrg_oUv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aofaZSxSGCpf1beq1Mg"/>
</p:tagLst>
</file>

<file path=ppt/theme/theme1.xml><?xml version="1.0" encoding="utf-8"?>
<a:theme xmlns:a="http://schemas.openxmlformats.org/drawingml/2006/main" name="2_Prezentácia IFP_working papers">
  <a:themeElements>
    <a:clrScheme name="2_Prezentácia IFP_working paper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rezentácia IFP_working papers">
      <a:majorFont>
        <a:latin typeface="Book Antiqua"/>
        <a:ea typeface=""/>
        <a:cs typeface=""/>
      </a:majorFont>
      <a:minorFont>
        <a:latin typeface="Book Antiqu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k-SK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k-SK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Prezentácia IFP_working paper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ív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ív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21</TotalTime>
  <Words>1021</Words>
  <Application>Microsoft Office PowerPoint</Application>
  <PresentationFormat>On-screen Show (4:3)</PresentationFormat>
  <Paragraphs>118</Paragraphs>
  <Slides>11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Arial Narrow</vt:lpstr>
      <vt:lpstr>Book Antiqua</vt:lpstr>
      <vt:lpstr>NeueHaasGroteskDisp W02</vt:lpstr>
      <vt:lpstr>NeueHaasGroteskText W02</vt:lpstr>
      <vt:lpstr>Wingdings</vt:lpstr>
      <vt:lpstr>2_Prezentácia IFP_working papers</vt:lpstr>
      <vt:lpstr>think-cell Slide</vt:lpstr>
      <vt:lpstr>Targeted Budget Review of Slovakia</vt:lpstr>
      <vt:lpstr>OECD, 2014: Spending review should be an integral part of budget preparation process... </vt:lpstr>
      <vt:lpstr>Spending reviews come in many shapes. Slovak ones are targeted, focus on value and institution building at the moment. </vt:lpstr>
      <vt:lpstr>Spending reviews implemented in the budget</vt:lpstr>
      <vt:lpstr>Lessons learnt </vt:lpstr>
      <vt:lpstr>OECD Budget review of Slovakia: Three areas with space for improvement</vt:lpstr>
      <vt:lpstr>OECD Budget Review of Slovakia: Space for improvement in three areas</vt:lpstr>
      <vt:lpstr>3. Performance budgeting in Slovakia: Discussion about inputs instead of outcomes</vt:lpstr>
      <vt:lpstr>Step by step towards discussion about outcomes</vt:lpstr>
      <vt:lpstr>Taking budgeting debate beyond governanc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urian Matej</dc:creator>
  <cp:lastModifiedBy>LECONTE-LUCAS Hélène, GOV/BUD</cp:lastModifiedBy>
  <cp:revision>1141</cp:revision>
  <cp:lastPrinted>2019-07-02T12:41:43Z</cp:lastPrinted>
  <dcterms:created xsi:type="dcterms:W3CDTF">2005-03-21T14:42:10Z</dcterms:created>
  <dcterms:modified xsi:type="dcterms:W3CDTF">2019-07-02T12:44:54Z</dcterms:modified>
</cp:coreProperties>
</file>